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94" r:id="rId2"/>
    <p:sldId id="309" r:id="rId3"/>
    <p:sldId id="296" r:id="rId4"/>
    <p:sldId id="297" r:id="rId5"/>
    <p:sldId id="298" r:id="rId6"/>
    <p:sldId id="299" r:id="rId7"/>
    <p:sldId id="300" r:id="rId8"/>
    <p:sldId id="301" r:id="rId9"/>
    <p:sldId id="302" r:id="rId10"/>
    <p:sldId id="303" r:id="rId11"/>
    <p:sldId id="306" r:id="rId12"/>
    <p:sldId id="305" r:id="rId13"/>
    <p:sldId id="304" r:id="rId14"/>
    <p:sldId id="307" r:id="rId15"/>
    <p:sldId id="308" r:id="rId16"/>
  </p:sldIdLst>
  <p:sldSz cx="12198350" cy="6859588"/>
  <p:notesSz cx="9144000" cy="6858000"/>
  <p:custDataLst>
    <p:tags r:id="rId19"/>
  </p:custDataLst>
  <p:defaultTextStyle>
    <a:defPPr>
      <a:defRPr lang="de-DE"/>
    </a:defPPr>
    <a:lvl1pPr marL="0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47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959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43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918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7" userDrawn="1">
          <p15:clr>
            <a:srgbClr val="A4A3A4"/>
          </p15:clr>
        </p15:guide>
        <p15:guide id="2" orient="horz" pos="1025" userDrawn="1">
          <p15:clr>
            <a:srgbClr val="A4A3A4"/>
          </p15:clr>
        </p15:guide>
        <p15:guide id="3" orient="horz" pos="493" userDrawn="1">
          <p15:clr>
            <a:srgbClr val="A4A3A4"/>
          </p15:clr>
        </p15:guide>
        <p15:guide id="4" orient="horz" pos="3867" userDrawn="1">
          <p15:clr>
            <a:srgbClr val="A4A3A4"/>
          </p15:clr>
        </p15:guide>
        <p15:guide id="5" orient="horz" pos="2379" userDrawn="1">
          <p15:clr>
            <a:srgbClr val="A4A3A4"/>
          </p15:clr>
        </p15:guide>
        <p15:guide id="6" orient="horz" pos="2514" userDrawn="1">
          <p15:clr>
            <a:srgbClr val="A4A3A4"/>
          </p15:clr>
        </p15:guide>
        <p15:guide id="7" pos="304" userDrawn="1">
          <p15:clr>
            <a:srgbClr val="A4A3A4"/>
          </p15:clr>
        </p15:guide>
        <p15:guide id="8" pos="7381" userDrawn="1">
          <p15:clr>
            <a:srgbClr val="A4A3A4"/>
          </p15:clr>
        </p15:guide>
        <p15:guide id="9" pos="3695" userDrawn="1">
          <p15:clr>
            <a:srgbClr val="A4A3A4"/>
          </p15:clr>
        </p15:guide>
        <p15:guide id="10" pos="4000" userDrawn="1">
          <p15:clr>
            <a:srgbClr val="A4A3A4"/>
          </p15:clr>
        </p15:guide>
        <p15:guide id="11" pos="2764" userDrawn="1">
          <p15:clr>
            <a:srgbClr val="A4A3A4"/>
          </p15:clr>
        </p15:guide>
        <p15:guide id="12" pos="2458" userDrawn="1">
          <p15:clr>
            <a:srgbClr val="A4A3A4"/>
          </p15:clr>
        </p15:guide>
        <p15:guide id="13" pos="1030" userDrawn="1">
          <p15:clr>
            <a:srgbClr val="A4A3A4"/>
          </p15:clr>
        </p15:guide>
        <p15:guide id="14" pos="1336" userDrawn="1">
          <p15:clr>
            <a:srgbClr val="A4A3A4"/>
          </p15:clr>
        </p15:guide>
        <p15:guide id="15" pos="4919" userDrawn="1">
          <p15:clr>
            <a:srgbClr val="A4A3A4"/>
          </p15:clr>
        </p15:guide>
        <p15:guide id="16" pos="5226" userDrawn="1">
          <p15:clr>
            <a:srgbClr val="A4A3A4"/>
          </p15:clr>
        </p15:guide>
        <p15:guide id="17" pos="6348" userDrawn="1">
          <p15:clr>
            <a:srgbClr val="A4A3A4"/>
          </p15:clr>
        </p15:guide>
        <p15:guide id="18" pos="66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48AD"/>
    <a:srgbClr val="FF5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06" autoAdjust="0"/>
    <p:restoredTop sz="94660"/>
  </p:normalViewPr>
  <p:slideViewPr>
    <p:cSldViewPr snapToGrid="0">
      <p:cViewPr varScale="1">
        <p:scale>
          <a:sx n="87" d="100"/>
          <a:sy n="87" d="100"/>
        </p:scale>
        <p:origin x="696" y="90"/>
      </p:cViewPr>
      <p:guideLst>
        <p:guide orient="horz" pos="277"/>
        <p:guide orient="horz" pos="1025"/>
        <p:guide orient="horz" pos="493"/>
        <p:guide orient="horz" pos="3867"/>
        <p:guide orient="horz" pos="2379"/>
        <p:guide orient="horz" pos="2514"/>
        <p:guide pos="304"/>
        <p:guide pos="7381"/>
        <p:guide pos="3695"/>
        <p:guide pos="4000"/>
        <p:guide pos="2764"/>
        <p:guide pos="2458"/>
        <p:guide pos="1030"/>
        <p:guide pos="1336"/>
        <p:guide pos="4919"/>
        <p:guide pos="5226"/>
        <p:guide pos="6348"/>
        <p:guide pos="66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9648"/>
    </p:cViewPr>
  </p:sorterViewPr>
  <p:notesViewPr>
    <p:cSldViewPr snapToGrid="0">
      <p:cViewPr>
        <p:scale>
          <a:sx n="100" d="100"/>
          <a:sy n="100" d="100"/>
        </p:scale>
        <p:origin x="-2016" y="-438"/>
      </p:cViewPr>
      <p:guideLst>
        <p:guide orient="horz" pos="2880"/>
        <p:guide pos="2160"/>
        <p:guide orient="horz" pos="2160"/>
        <p:guide pos="28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1475E7-B846-48AB-80D4-6E51C9841491}" type="doc">
      <dgm:prSet loTypeId="urn:microsoft.com/office/officeart/2005/8/layout/chevron2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22DD18D0-219E-4C22-816F-0B41D0358E7F}">
      <dgm:prSet phldrT="[Text]"/>
      <dgm:spPr/>
      <dgm:t>
        <a:bodyPr/>
        <a:lstStyle/>
        <a:p>
          <a:pPr algn="ctr"/>
          <a:r>
            <a:rPr lang="en-US" b="1" dirty="0">
              <a:latin typeface="Arial" pitchFamily="34" charset="0"/>
              <a:cs typeface="Arial" pitchFamily="34" charset="0"/>
            </a:rPr>
            <a:t>SDG 1</a:t>
          </a:r>
        </a:p>
      </dgm:t>
    </dgm:pt>
    <dgm:pt modelId="{C501125C-E0EE-4CDD-9DDB-72603DFD4FF2}" type="parTrans" cxnId="{6E21C1FC-CF17-4396-909B-8E66AB479831}">
      <dgm:prSet/>
      <dgm:spPr/>
      <dgm:t>
        <a:bodyPr/>
        <a:lstStyle/>
        <a:p>
          <a:pPr algn="l"/>
          <a:endParaRPr lang="en-US"/>
        </a:p>
      </dgm:t>
    </dgm:pt>
    <dgm:pt modelId="{C3208850-7EC2-4DD6-BA9B-5A2A8842488D}" type="sibTrans" cxnId="{6E21C1FC-CF17-4396-909B-8E66AB479831}">
      <dgm:prSet/>
      <dgm:spPr/>
      <dgm:t>
        <a:bodyPr/>
        <a:lstStyle/>
        <a:p>
          <a:pPr algn="l"/>
          <a:endParaRPr lang="en-US"/>
        </a:p>
      </dgm:t>
    </dgm:pt>
    <dgm:pt modelId="{C5577A9D-1F47-430D-B1B2-EB13E69388F6}">
      <dgm:prSet phldrT="[Text]"/>
      <dgm:spPr/>
      <dgm:t>
        <a:bodyPr/>
        <a:lstStyle/>
        <a:p>
          <a:pPr algn="l"/>
          <a:r>
            <a:rPr lang="en-US" dirty="0">
              <a:latin typeface="+mn-lt"/>
              <a:cs typeface="Arial" pitchFamily="34" charset="0"/>
            </a:rPr>
            <a:t>End Poverty In All Of Its Forms Everywhere</a:t>
          </a:r>
        </a:p>
      </dgm:t>
    </dgm:pt>
    <dgm:pt modelId="{C8830B2F-6EC7-4E3D-90F2-6A2347FC439B}" type="parTrans" cxnId="{0F474C96-D8A1-4865-B446-9B9DB0ACB26C}">
      <dgm:prSet/>
      <dgm:spPr/>
      <dgm:t>
        <a:bodyPr/>
        <a:lstStyle/>
        <a:p>
          <a:pPr algn="l"/>
          <a:endParaRPr lang="en-US"/>
        </a:p>
      </dgm:t>
    </dgm:pt>
    <dgm:pt modelId="{45B4833F-1156-4DCC-9E7F-AAA5DD104D59}" type="sibTrans" cxnId="{0F474C96-D8A1-4865-B446-9B9DB0ACB26C}">
      <dgm:prSet/>
      <dgm:spPr/>
      <dgm:t>
        <a:bodyPr/>
        <a:lstStyle/>
        <a:p>
          <a:pPr algn="l"/>
          <a:endParaRPr lang="en-US"/>
        </a:p>
      </dgm:t>
    </dgm:pt>
    <dgm:pt modelId="{858644F5-428B-4865-B156-71C8A5F0E780}">
      <dgm:prSet phldrT="[Text]"/>
      <dgm:spPr/>
      <dgm:t>
        <a:bodyPr/>
        <a:lstStyle/>
        <a:p>
          <a:pPr algn="ctr"/>
          <a:r>
            <a:rPr lang="en-US" b="1" dirty="0">
              <a:latin typeface="Arial" pitchFamily="34" charset="0"/>
              <a:cs typeface="Arial" pitchFamily="34" charset="0"/>
            </a:rPr>
            <a:t>Target 1.3</a:t>
          </a:r>
        </a:p>
      </dgm:t>
    </dgm:pt>
    <dgm:pt modelId="{6D801324-3734-4FE6-A77B-5765091799A5}" type="parTrans" cxnId="{F08BCDC4-8E38-40DE-86C6-CC8E1A87E140}">
      <dgm:prSet/>
      <dgm:spPr/>
      <dgm:t>
        <a:bodyPr/>
        <a:lstStyle/>
        <a:p>
          <a:pPr algn="l"/>
          <a:endParaRPr lang="en-US"/>
        </a:p>
      </dgm:t>
    </dgm:pt>
    <dgm:pt modelId="{1DEA1FE2-C4E6-4781-B97E-2FE6BD8527C1}" type="sibTrans" cxnId="{F08BCDC4-8E38-40DE-86C6-CC8E1A87E140}">
      <dgm:prSet/>
      <dgm:spPr/>
      <dgm:t>
        <a:bodyPr/>
        <a:lstStyle/>
        <a:p>
          <a:pPr algn="l"/>
          <a:endParaRPr lang="en-US"/>
        </a:p>
      </dgm:t>
    </dgm:pt>
    <dgm:pt modelId="{F9B889E2-48CA-4786-91A3-3FD487509323}">
      <dgm:prSet phldrT="[Text]"/>
      <dgm:spPr/>
      <dgm:t>
        <a:bodyPr/>
        <a:lstStyle/>
        <a:p>
          <a:pPr algn="l"/>
          <a:r>
            <a:rPr lang="en-US" b="0" i="0" dirty="0">
              <a:latin typeface="+mn-lt"/>
              <a:cs typeface="Arial" pitchFamily="34" charset="0"/>
            </a:rPr>
            <a:t>Implement nationally appropriate social protection systems and measures for all, including floors, and by 2030 achieve substantial coverage of the poor and the vulnerable</a:t>
          </a:r>
          <a:endParaRPr lang="en-US" dirty="0">
            <a:latin typeface="+mn-lt"/>
            <a:cs typeface="Arial" pitchFamily="34" charset="0"/>
          </a:endParaRPr>
        </a:p>
      </dgm:t>
    </dgm:pt>
    <dgm:pt modelId="{D8807238-A909-4990-AE22-BC61E16B487E}" type="parTrans" cxnId="{B7B23516-11A5-4440-82F3-FD8A0A32C6BD}">
      <dgm:prSet/>
      <dgm:spPr/>
      <dgm:t>
        <a:bodyPr/>
        <a:lstStyle/>
        <a:p>
          <a:pPr algn="l"/>
          <a:endParaRPr lang="en-US"/>
        </a:p>
      </dgm:t>
    </dgm:pt>
    <dgm:pt modelId="{C172F37D-B690-47CA-8DC1-685356880901}" type="sibTrans" cxnId="{B7B23516-11A5-4440-82F3-FD8A0A32C6BD}">
      <dgm:prSet/>
      <dgm:spPr/>
      <dgm:t>
        <a:bodyPr/>
        <a:lstStyle/>
        <a:p>
          <a:pPr algn="l"/>
          <a:endParaRPr lang="en-US"/>
        </a:p>
      </dgm:t>
    </dgm:pt>
    <dgm:pt modelId="{B9BD6581-BD3A-4D4D-82B2-40D271D0B2C6}">
      <dgm:prSet phldrT="[Text]"/>
      <dgm:spPr/>
      <dgm:t>
        <a:bodyPr/>
        <a:lstStyle/>
        <a:p>
          <a:pPr algn="ctr"/>
          <a:r>
            <a:rPr lang="en-US" b="1" dirty="0">
              <a:latin typeface="Arial" pitchFamily="34" charset="0"/>
              <a:cs typeface="Arial" pitchFamily="34" charset="0"/>
            </a:rPr>
            <a:t>Indicator 1.3.1</a:t>
          </a:r>
        </a:p>
      </dgm:t>
    </dgm:pt>
    <dgm:pt modelId="{FDA0CBC1-AA8F-4BF1-9E12-5E91BE2C994C}" type="parTrans" cxnId="{FBDB1839-8DC7-49A3-BD2F-3C233B1CF731}">
      <dgm:prSet/>
      <dgm:spPr/>
      <dgm:t>
        <a:bodyPr/>
        <a:lstStyle/>
        <a:p>
          <a:pPr algn="l"/>
          <a:endParaRPr lang="en-US"/>
        </a:p>
      </dgm:t>
    </dgm:pt>
    <dgm:pt modelId="{EED9B555-FD36-41CC-9462-35916F81A693}" type="sibTrans" cxnId="{FBDB1839-8DC7-49A3-BD2F-3C233B1CF731}">
      <dgm:prSet/>
      <dgm:spPr/>
      <dgm:t>
        <a:bodyPr/>
        <a:lstStyle/>
        <a:p>
          <a:pPr algn="l"/>
          <a:endParaRPr lang="en-US"/>
        </a:p>
      </dgm:t>
    </dgm:pt>
    <dgm:pt modelId="{C7AD245F-89DC-4EB3-AA74-97ACFD0966EC}">
      <dgm:prSet phldrT="[Text]"/>
      <dgm:spPr/>
      <dgm:t>
        <a:bodyPr/>
        <a:lstStyle/>
        <a:p>
          <a:pPr algn="l"/>
          <a:r>
            <a:rPr lang="en-US" b="0" i="0" dirty="0">
              <a:latin typeface="+mn-lt"/>
              <a:cs typeface="Arial" pitchFamily="34" charset="0"/>
            </a:rPr>
            <a:t>Proportion of population covered by social protection floors/systems, by sex, distinguishing children, unemployed persons, older persons, persons with disabilities, pregnant women, newborns, work-injury victims and the poor and the vulnerable</a:t>
          </a:r>
          <a:endParaRPr lang="en-US" dirty="0">
            <a:latin typeface="+mn-lt"/>
            <a:cs typeface="Arial" pitchFamily="34" charset="0"/>
          </a:endParaRPr>
        </a:p>
      </dgm:t>
    </dgm:pt>
    <dgm:pt modelId="{64B27DC9-40ED-4B5A-8D7F-6ACA1B9CB9D5}" type="parTrans" cxnId="{5385CB60-EE95-4B81-BB8D-E596D7390B2F}">
      <dgm:prSet/>
      <dgm:spPr/>
      <dgm:t>
        <a:bodyPr/>
        <a:lstStyle/>
        <a:p>
          <a:pPr algn="l"/>
          <a:endParaRPr lang="en-US"/>
        </a:p>
      </dgm:t>
    </dgm:pt>
    <dgm:pt modelId="{3C16E5FD-468F-4EB2-BEC7-7FD47F6F2A58}" type="sibTrans" cxnId="{5385CB60-EE95-4B81-BB8D-E596D7390B2F}">
      <dgm:prSet/>
      <dgm:spPr/>
      <dgm:t>
        <a:bodyPr/>
        <a:lstStyle/>
        <a:p>
          <a:pPr algn="l"/>
          <a:endParaRPr lang="en-US"/>
        </a:p>
      </dgm:t>
    </dgm:pt>
    <dgm:pt modelId="{3A924FCE-6204-440F-8E96-7A8F98ECD0DC}" type="pres">
      <dgm:prSet presAssocID="{C51475E7-B846-48AB-80D4-6E51C984149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187057-78C0-4DF4-8EA9-768C456024F6}" type="pres">
      <dgm:prSet presAssocID="{22DD18D0-219E-4C22-816F-0B41D0358E7F}" presName="composite" presStyleCnt="0"/>
      <dgm:spPr/>
    </dgm:pt>
    <dgm:pt modelId="{69AD4338-E67C-4693-A790-38CD05E147C8}" type="pres">
      <dgm:prSet presAssocID="{22DD18D0-219E-4C22-816F-0B41D0358E7F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A80B04-3398-4C32-9FC1-4EBC93D5D781}" type="pres">
      <dgm:prSet presAssocID="{22DD18D0-219E-4C22-816F-0B41D0358E7F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657808-7D27-4472-BAF9-A292C59D8ED6}" type="pres">
      <dgm:prSet presAssocID="{C3208850-7EC2-4DD6-BA9B-5A2A8842488D}" presName="sp" presStyleCnt="0"/>
      <dgm:spPr/>
    </dgm:pt>
    <dgm:pt modelId="{6F2E677E-9049-4561-BD6E-FC85EEE4705A}" type="pres">
      <dgm:prSet presAssocID="{858644F5-428B-4865-B156-71C8A5F0E780}" presName="composite" presStyleCnt="0"/>
      <dgm:spPr/>
    </dgm:pt>
    <dgm:pt modelId="{A10BFA91-4835-4DFA-BCBF-28B182A94CD2}" type="pres">
      <dgm:prSet presAssocID="{858644F5-428B-4865-B156-71C8A5F0E78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24A4CC-2B25-4607-96DB-9766479DD659}" type="pres">
      <dgm:prSet presAssocID="{858644F5-428B-4865-B156-71C8A5F0E78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D90CDA-CA13-4930-A13F-F83649AF6B70}" type="pres">
      <dgm:prSet presAssocID="{1DEA1FE2-C4E6-4781-B97E-2FE6BD8527C1}" presName="sp" presStyleCnt="0"/>
      <dgm:spPr/>
    </dgm:pt>
    <dgm:pt modelId="{D83851DE-9D28-4110-99D3-EFEB251CDC0E}" type="pres">
      <dgm:prSet presAssocID="{B9BD6581-BD3A-4D4D-82B2-40D271D0B2C6}" presName="composite" presStyleCnt="0"/>
      <dgm:spPr/>
    </dgm:pt>
    <dgm:pt modelId="{8410AE80-1565-4D59-9B10-5405450A703A}" type="pres">
      <dgm:prSet presAssocID="{B9BD6581-BD3A-4D4D-82B2-40D271D0B2C6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221EA2-82E5-4710-8756-0F3433551322}" type="pres">
      <dgm:prSet presAssocID="{B9BD6581-BD3A-4D4D-82B2-40D271D0B2C6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D83FF9-FFBD-4779-ACC6-D25183CD28B6}" type="presOf" srcId="{22DD18D0-219E-4C22-816F-0B41D0358E7F}" destId="{69AD4338-E67C-4693-A790-38CD05E147C8}" srcOrd="0" destOrd="0" presId="urn:microsoft.com/office/officeart/2005/8/layout/chevron2"/>
    <dgm:cxn modelId="{FF1DC684-89F2-4989-B1F3-A0258EB0F864}" type="presOf" srcId="{C51475E7-B846-48AB-80D4-6E51C9841491}" destId="{3A924FCE-6204-440F-8E96-7A8F98ECD0DC}" srcOrd="0" destOrd="0" presId="urn:microsoft.com/office/officeart/2005/8/layout/chevron2"/>
    <dgm:cxn modelId="{F08BCDC4-8E38-40DE-86C6-CC8E1A87E140}" srcId="{C51475E7-B846-48AB-80D4-6E51C9841491}" destId="{858644F5-428B-4865-B156-71C8A5F0E780}" srcOrd="1" destOrd="0" parTransId="{6D801324-3734-4FE6-A77B-5765091799A5}" sibTransId="{1DEA1FE2-C4E6-4781-B97E-2FE6BD8527C1}"/>
    <dgm:cxn modelId="{8CB3B88C-7E19-41FD-B167-EC60ED22B3D8}" type="presOf" srcId="{858644F5-428B-4865-B156-71C8A5F0E780}" destId="{A10BFA91-4835-4DFA-BCBF-28B182A94CD2}" srcOrd="0" destOrd="0" presId="urn:microsoft.com/office/officeart/2005/8/layout/chevron2"/>
    <dgm:cxn modelId="{729A6327-D818-44BA-8E71-4723A1100785}" type="presOf" srcId="{F9B889E2-48CA-4786-91A3-3FD487509323}" destId="{5324A4CC-2B25-4607-96DB-9766479DD659}" srcOrd="0" destOrd="0" presId="urn:microsoft.com/office/officeart/2005/8/layout/chevron2"/>
    <dgm:cxn modelId="{6E21C1FC-CF17-4396-909B-8E66AB479831}" srcId="{C51475E7-B846-48AB-80D4-6E51C9841491}" destId="{22DD18D0-219E-4C22-816F-0B41D0358E7F}" srcOrd="0" destOrd="0" parTransId="{C501125C-E0EE-4CDD-9DDB-72603DFD4FF2}" sibTransId="{C3208850-7EC2-4DD6-BA9B-5A2A8842488D}"/>
    <dgm:cxn modelId="{20AB9036-967E-47AD-BDA7-F036367E3515}" type="presOf" srcId="{B9BD6581-BD3A-4D4D-82B2-40D271D0B2C6}" destId="{8410AE80-1565-4D59-9B10-5405450A703A}" srcOrd="0" destOrd="0" presId="urn:microsoft.com/office/officeart/2005/8/layout/chevron2"/>
    <dgm:cxn modelId="{B7B23516-11A5-4440-82F3-FD8A0A32C6BD}" srcId="{858644F5-428B-4865-B156-71C8A5F0E780}" destId="{F9B889E2-48CA-4786-91A3-3FD487509323}" srcOrd="0" destOrd="0" parTransId="{D8807238-A909-4990-AE22-BC61E16B487E}" sibTransId="{C172F37D-B690-47CA-8DC1-685356880901}"/>
    <dgm:cxn modelId="{C99C3EBB-4D94-40C1-9D4B-429148604FE3}" type="presOf" srcId="{C5577A9D-1F47-430D-B1B2-EB13E69388F6}" destId="{1DA80B04-3398-4C32-9FC1-4EBC93D5D781}" srcOrd="0" destOrd="0" presId="urn:microsoft.com/office/officeart/2005/8/layout/chevron2"/>
    <dgm:cxn modelId="{5385CB60-EE95-4B81-BB8D-E596D7390B2F}" srcId="{B9BD6581-BD3A-4D4D-82B2-40D271D0B2C6}" destId="{C7AD245F-89DC-4EB3-AA74-97ACFD0966EC}" srcOrd="0" destOrd="0" parTransId="{64B27DC9-40ED-4B5A-8D7F-6ACA1B9CB9D5}" sibTransId="{3C16E5FD-468F-4EB2-BEC7-7FD47F6F2A58}"/>
    <dgm:cxn modelId="{0F474C96-D8A1-4865-B446-9B9DB0ACB26C}" srcId="{22DD18D0-219E-4C22-816F-0B41D0358E7F}" destId="{C5577A9D-1F47-430D-B1B2-EB13E69388F6}" srcOrd="0" destOrd="0" parTransId="{C8830B2F-6EC7-4E3D-90F2-6A2347FC439B}" sibTransId="{45B4833F-1156-4DCC-9E7F-AAA5DD104D59}"/>
    <dgm:cxn modelId="{FBDB1839-8DC7-49A3-BD2F-3C233B1CF731}" srcId="{C51475E7-B846-48AB-80D4-6E51C9841491}" destId="{B9BD6581-BD3A-4D4D-82B2-40D271D0B2C6}" srcOrd="2" destOrd="0" parTransId="{FDA0CBC1-AA8F-4BF1-9E12-5E91BE2C994C}" sibTransId="{EED9B555-FD36-41CC-9462-35916F81A693}"/>
    <dgm:cxn modelId="{F47DC09C-4F50-4AEE-8A8F-C41FBB614458}" type="presOf" srcId="{C7AD245F-89DC-4EB3-AA74-97ACFD0966EC}" destId="{2C221EA2-82E5-4710-8756-0F3433551322}" srcOrd="0" destOrd="0" presId="urn:microsoft.com/office/officeart/2005/8/layout/chevron2"/>
    <dgm:cxn modelId="{9AC5138B-C02B-43AC-A786-9B90BA6DBE95}" type="presParOf" srcId="{3A924FCE-6204-440F-8E96-7A8F98ECD0DC}" destId="{66187057-78C0-4DF4-8EA9-768C456024F6}" srcOrd="0" destOrd="0" presId="urn:microsoft.com/office/officeart/2005/8/layout/chevron2"/>
    <dgm:cxn modelId="{7AAE884C-5BE3-4DAA-9CFA-FC72FDFDD20C}" type="presParOf" srcId="{66187057-78C0-4DF4-8EA9-768C456024F6}" destId="{69AD4338-E67C-4693-A790-38CD05E147C8}" srcOrd="0" destOrd="0" presId="urn:microsoft.com/office/officeart/2005/8/layout/chevron2"/>
    <dgm:cxn modelId="{29D09D59-87AD-4AB0-8946-6DE2A9F2614D}" type="presParOf" srcId="{66187057-78C0-4DF4-8EA9-768C456024F6}" destId="{1DA80B04-3398-4C32-9FC1-4EBC93D5D781}" srcOrd="1" destOrd="0" presId="urn:microsoft.com/office/officeart/2005/8/layout/chevron2"/>
    <dgm:cxn modelId="{656E5E74-5444-4607-AC1D-738AF357446F}" type="presParOf" srcId="{3A924FCE-6204-440F-8E96-7A8F98ECD0DC}" destId="{C6657808-7D27-4472-BAF9-A292C59D8ED6}" srcOrd="1" destOrd="0" presId="urn:microsoft.com/office/officeart/2005/8/layout/chevron2"/>
    <dgm:cxn modelId="{B7AA2E4E-4B15-41B3-9DA2-1F6865033DCB}" type="presParOf" srcId="{3A924FCE-6204-440F-8E96-7A8F98ECD0DC}" destId="{6F2E677E-9049-4561-BD6E-FC85EEE4705A}" srcOrd="2" destOrd="0" presId="urn:microsoft.com/office/officeart/2005/8/layout/chevron2"/>
    <dgm:cxn modelId="{4CAC8118-27D5-4B9C-88D8-F45425DA6A39}" type="presParOf" srcId="{6F2E677E-9049-4561-BD6E-FC85EEE4705A}" destId="{A10BFA91-4835-4DFA-BCBF-28B182A94CD2}" srcOrd="0" destOrd="0" presId="urn:microsoft.com/office/officeart/2005/8/layout/chevron2"/>
    <dgm:cxn modelId="{3DFB4DA9-84CB-477F-A9F7-9DA2CF16D66B}" type="presParOf" srcId="{6F2E677E-9049-4561-BD6E-FC85EEE4705A}" destId="{5324A4CC-2B25-4607-96DB-9766479DD659}" srcOrd="1" destOrd="0" presId="urn:microsoft.com/office/officeart/2005/8/layout/chevron2"/>
    <dgm:cxn modelId="{0E524CBB-9353-48DB-9B2E-C4CC8F1A44FA}" type="presParOf" srcId="{3A924FCE-6204-440F-8E96-7A8F98ECD0DC}" destId="{6CD90CDA-CA13-4930-A13F-F83649AF6B70}" srcOrd="3" destOrd="0" presId="urn:microsoft.com/office/officeart/2005/8/layout/chevron2"/>
    <dgm:cxn modelId="{2C45A829-CBD8-41B4-99B8-F19BF17614D8}" type="presParOf" srcId="{3A924FCE-6204-440F-8E96-7A8F98ECD0DC}" destId="{D83851DE-9D28-4110-99D3-EFEB251CDC0E}" srcOrd="4" destOrd="0" presId="urn:microsoft.com/office/officeart/2005/8/layout/chevron2"/>
    <dgm:cxn modelId="{A3D814C1-9311-4947-9D08-F5F1A33160DD}" type="presParOf" srcId="{D83851DE-9D28-4110-99D3-EFEB251CDC0E}" destId="{8410AE80-1565-4D59-9B10-5405450A703A}" srcOrd="0" destOrd="0" presId="urn:microsoft.com/office/officeart/2005/8/layout/chevron2"/>
    <dgm:cxn modelId="{04A2D4B4-B985-4778-AD6B-30103283EE20}" type="presParOf" srcId="{D83851DE-9D28-4110-99D3-EFEB251CDC0E}" destId="{2C221EA2-82E5-4710-8756-0F343355132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D7957D-E907-42F4-8869-9C51D3B65D62}" type="datetimeFigureOut">
              <a:rPr lang="en-GB" smtClean="0"/>
              <a:pPr/>
              <a:t>16/08/2019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219541-AFC3-4E26-9AC6-E6F58E66259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7195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18160" y="957898"/>
            <a:ext cx="3959225" cy="2227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876800" y="957898"/>
            <a:ext cx="3749040" cy="51685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18160" y="425093"/>
            <a:ext cx="8122920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eaLnBrk="1">
              <a:defRPr sz="2000" cap="all" baseline="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18160" y="6513910"/>
            <a:ext cx="3962400" cy="3429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fld id="{C8A260CC-4FB7-459D-AE86-D596B6E74D1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feld 7"/>
          <p:cNvSpPr txBox="1"/>
          <p:nvPr/>
        </p:nvSpPr>
        <p:spPr>
          <a:xfrm>
            <a:off x="518160" y="3375660"/>
            <a:ext cx="397764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/>
              <a:t>Notes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518160" y="3597275"/>
            <a:ext cx="396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5"/>
          <p:cNvGrpSpPr>
            <a:grpSpLocks noChangeAspect="1"/>
          </p:cNvGrpSpPr>
          <p:nvPr/>
        </p:nvGrpSpPr>
        <p:grpSpPr bwMode="auto">
          <a:xfrm>
            <a:off x="7593280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064764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975" indent="-180975" algn="l" defTabSz="1088959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7188" indent="-176213" algn="l" defTabSz="1088959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8163" indent="-180975" algn="l" defTabSz="1088959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80975" algn="l" defTabSz="1088959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5350" indent="-176213" algn="l" defTabSz="1088959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72239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108895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40"/>
            <a:ext cx="11234738" cy="6152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noProof="0" dirty="0" err="1"/>
              <a:t>Textslide</a:t>
            </a:r>
            <a:r>
              <a:rPr lang="en-GB" noProof="0" dirty="0"/>
              <a:t> – Please click here to edit master format</a:t>
            </a:r>
            <a:br>
              <a:rPr lang="en-GB" noProof="0" dirty="0"/>
            </a:br>
            <a:r>
              <a:rPr lang="en-GB" noProof="0" dirty="0"/>
              <a:t>two lines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1627191"/>
            <a:ext cx="11234738" cy="45116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9469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1083624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635127" y="2772119"/>
            <a:ext cx="8929689" cy="984885"/>
          </a:xfrm>
        </p:spPr>
        <p:txBody>
          <a:bodyPr/>
          <a:lstStyle>
            <a:lvl1pPr algn="ctr">
              <a:defRPr sz="3200" cap="none" baseline="0"/>
            </a:lvl1pPr>
          </a:lstStyle>
          <a:p>
            <a:r>
              <a:rPr lang="en-US" dirty="0" err="1"/>
              <a:t>Dividerslide</a:t>
            </a:r>
            <a:r>
              <a:rPr lang="en-US" dirty="0"/>
              <a:t> </a:t>
            </a:r>
            <a:r>
              <a:rPr lang="en-GB" dirty="0"/>
              <a:t>1 – Title, two lines</a:t>
            </a:r>
            <a:br>
              <a:rPr lang="en-GB" dirty="0"/>
            </a:br>
            <a:r>
              <a:rPr lang="en-GB" dirty="0"/>
              <a:t>Arial 32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635125" y="3829002"/>
            <a:ext cx="8929688" cy="246349"/>
          </a:xfrm>
        </p:spPr>
        <p:txBody>
          <a:bodyPr>
            <a:spAutoFit/>
          </a:bodyPr>
          <a:lstStyle>
            <a:lvl1pPr marL="0" indent="0" algn="ctr">
              <a:buNone/>
              <a:defRPr sz="1601" cap="all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80" name="Gruppieren 79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81" name="Gerade Verbindung 80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5"/>
          <p:cNvGrpSpPr>
            <a:grpSpLocks noChangeAspect="1"/>
          </p:cNvGrpSpPr>
          <p:nvPr userDrawn="1"/>
        </p:nvGrpSpPr>
        <p:grpSpPr bwMode="auto">
          <a:xfrm>
            <a:off x="10683881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8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2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3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79027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5070239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628900" y="2772119"/>
            <a:ext cx="7935914" cy="984885"/>
          </a:xfrm>
        </p:spPr>
        <p:txBody>
          <a:bodyPr/>
          <a:lstStyle>
            <a:lvl1pPr algn="l">
              <a:defRPr sz="3200" cap="none" baseline="0"/>
            </a:lvl1pPr>
          </a:lstStyle>
          <a:p>
            <a:r>
              <a:rPr lang="en-US" dirty="0" err="1"/>
              <a:t>Dividerslide</a:t>
            </a:r>
            <a:r>
              <a:rPr lang="en-US" dirty="0"/>
              <a:t> </a:t>
            </a:r>
            <a:r>
              <a:rPr lang="en-GB" dirty="0"/>
              <a:t>2 – Title, two lines</a:t>
            </a:r>
            <a:br>
              <a:rPr lang="en-GB" dirty="0"/>
            </a:br>
            <a:r>
              <a:rPr lang="en-GB" dirty="0"/>
              <a:t>Arial 32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28901" y="3829002"/>
            <a:ext cx="7935912" cy="246349"/>
          </a:xfrm>
        </p:spPr>
        <p:txBody>
          <a:bodyPr wrap="square">
            <a:spAutoFit/>
          </a:bodyPr>
          <a:lstStyle>
            <a:lvl1pPr marL="0" indent="0" algn="l">
              <a:buNone/>
              <a:defRPr sz="1601" cap="all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2120900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82" name="Gerade Verbindung 81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5"/>
          <p:cNvGrpSpPr>
            <a:grpSpLocks noChangeAspect="1"/>
          </p:cNvGrpSpPr>
          <p:nvPr userDrawn="1"/>
        </p:nvGrpSpPr>
        <p:grpSpPr bwMode="auto">
          <a:xfrm>
            <a:off x="10683881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132963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331213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387851" y="2772119"/>
            <a:ext cx="6176963" cy="984885"/>
          </a:xfrm>
        </p:spPr>
        <p:txBody>
          <a:bodyPr/>
          <a:lstStyle>
            <a:lvl1pPr algn="l">
              <a:defRPr sz="3200" cap="none" baseline="0"/>
            </a:lvl1pPr>
          </a:lstStyle>
          <a:p>
            <a:r>
              <a:rPr lang="en-US" dirty="0" err="1"/>
              <a:t>Dividerslide</a:t>
            </a:r>
            <a:r>
              <a:rPr lang="en-US" dirty="0"/>
              <a:t> </a:t>
            </a:r>
            <a:r>
              <a:rPr lang="en-GB" dirty="0"/>
              <a:t>3 – Title, two lines</a:t>
            </a:r>
            <a:br>
              <a:rPr lang="en-GB" dirty="0"/>
            </a:br>
            <a:r>
              <a:rPr lang="en-GB" dirty="0"/>
              <a:t>Arial 32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387851" y="3829002"/>
            <a:ext cx="6176962" cy="246349"/>
          </a:xfrm>
        </p:spPr>
        <p:txBody>
          <a:bodyPr wrap="square">
            <a:spAutoFit/>
          </a:bodyPr>
          <a:lstStyle>
            <a:lvl1pPr marL="0" indent="0" algn="l">
              <a:buNone/>
              <a:defRPr sz="1601" cap="all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3902075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82" name="Gerade Verbindung 81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 5"/>
          <p:cNvGrpSpPr>
            <a:grpSpLocks noChangeAspect="1"/>
          </p:cNvGrpSpPr>
          <p:nvPr userDrawn="1"/>
        </p:nvGrpSpPr>
        <p:grpSpPr bwMode="auto">
          <a:xfrm>
            <a:off x="10683881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1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01729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39"/>
            <a:ext cx="11234738" cy="30764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noProof="0" dirty="0" err="1"/>
              <a:t>Textslide</a:t>
            </a:r>
            <a:r>
              <a:rPr lang="en-GB" noProof="0" dirty="0"/>
              <a:t> with subline – click here to insert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1627191"/>
            <a:ext cx="11234738" cy="45116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3615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 err="1"/>
              <a:t>Contentslide</a:t>
            </a:r>
            <a:r>
              <a:rPr lang="en-GB" noProof="0" dirty="0"/>
              <a:t> with subline – click here to insert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2" hasCustomPrompt="1"/>
          </p:nvPr>
        </p:nvSpPr>
        <p:spPr>
          <a:xfrm>
            <a:off x="482600" y="1627191"/>
            <a:ext cx="11234738" cy="4511675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2326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iz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28093313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50000" y="477842"/>
            <a:ext cx="5367338" cy="1438275"/>
          </a:xfrm>
        </p:spPr>
        <p:txBody>
          <a:bodyPr>
            <a:noAutofit/>
          </a:bodyPr>
          <a:lstStyle>
            <a:lvl1pPr marL="0" indent="0">
              <a:buNone/>
              <a:defRPr sz="1999" baseline="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noProof="0" dirty="0"/>
              <a:t>Full bleed </a:t>
            </a:r>
            <a:r>
              <a:rPr lang="en-GB" noProof="0" dirty="0" err="1"/>
              <a:t>pictureslide</a:t>
            </a:r>
            <a:r>
              <a:rPr lang="en-GB" noProof="0" dirty="0"/>
              <a:t> –</a:t>
            </a:r>
            <a:br>
              <a:rPr lang="en-GB" noProof="0" dirty="0"/>
            </a:br>
            <a:r>
              <a:rPr lang="en-GB" noProof="0" dirty="0"/>
              <a:t>Click here to insert text,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</a:t>
            </a:r>
            <a:br>
              <a:rPr lang="en-GB" noProof="0" dirty="0"/>
            </a:br>
            <a:r>
              <a:rPr lang="en-GB" noProof="0" dirty="0"/>
              <a:t>Position of text box can be changed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125590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iz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3287859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5441955"/>
            <a:ext cx="12198350" cy="1438275"/>
          </a:xfrm>
          <a:solidFill>
            <a:schemeClr val="bg1">
              <a:alpha val="60000"/>
            </a:schemeClr>
          </a:solidFill>
        </p:spPr>
        <p:txBody>
          <a:bodyPr lIns="468000" tIns="108000" rIns="468000" bIns="432000" anchor="b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noProof="0" dirty="0"/>
              <a:t>Full bleed </a:t>
            </a:r>
            <a:r>
              <a:rPr lang="en-GB" noProof="0" dirty="0" err="1"/>
              <a:t>pictureslide</a:t>
            </a:r>
            <a:r>
              <a:rPr lang="en-GB" noProof="0" dirty="0"/>
              <a:t> – </a:t>
            </a:r>
            <a:br>
              <a:rPr lang="en-GB" noProof="0" dirty="0"/>
            </a:br>
            <a:r>
              <a:rPr lang="en-GB" noProof="0" dirty="0"/>
              <a:t>Click here to insert text, Arial, 20 </a:t>
            </a:r>
            <a:r>
              <a:rPr lang="en-GB" noProof="0" dirty="0" err="1"/>
              <a:t>pt</a:t>
            </a:r>
            <a:r>
              <a:rPr lang="en-GB" noProof="0" dirty="0"/>
              <a:t>, 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689851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350000" y="439740"/>
            <a:ext cx="5367338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5864225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350000" y="1627188"/>
            <a:ext cx="5367338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62604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87851" y="439740"/>
            <a:ext cx="7329489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902074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387851" y="1627188"/>
            <a:ext cx="7329489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86699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le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87851" y="439740"/>
            <a:ext cx="7329489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902074" cy="3429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387851" y="1627188"/>
            <a:ext cx="7329489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Bildplatzhalter 8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30588"/>
            <a:ext cx="3902074" cy="3429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6307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87330479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uppieren 4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3" name="Gerade Verbindung 42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"/>
          <p:cNvGrpSpPr>
            <a:grpSpLocks noChangeAspect="1"/>
          </p:cNvGrpSpPr>
          <p:nvPr userDrawn="1"/>
        </p:nvGrpSpPr>
        <p:grpSpPr bwMode="auto">
          <a:xfrm>
            <a:off x="4279900" y="3149631"/>
            <a:ext cx="3670302" cy="511857"/>
            <a:chOff x="1661" y="1447"/>
            <a:chExt cx="2438" cy="340"/>
          </a:xfrm>
          <a:solidFill>
            <a:schemeClr val="tx1"/>
          </a:solidFill>
        </p:grpSpPr>
        <p:sp>
          <p:nvSpPr>
            <p:cNvPr id="59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0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1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2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3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5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6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7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8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351752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lef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20903" y="439739"/>
            <a:ext cx="95964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4" y="0"/>
            <a:ext cx="1635123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120902" y="783517"/>
            <a:ext cx="95964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120902" y="1627188"/>
            <a:ext cx="9596438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5027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r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40"/>
            <a:ext cx="5367338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1627188"/>
            <a:ext cx="5367338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6350001" y="0"/>
            <a:ext cx="5848351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42461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40"/>
            <a:ext cx="7329489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1" y="1627188"/>
            <a:ext cx="7329489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8296277" y="0"/>
            <a:ext cx="3902075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8160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r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40"/>
            <a:ext cx="7326314" cy="615297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</a:t>
            </a:r>
            <a:br>
              <a:rPr lang="en-GB" noProof="0" dirty="0"/>
            </a:br>
            <a:r>
              <a:rPr lang="en-GB" noProof="0" dirty="0"/>
              <a:t>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1627188"/>
            <a:ext cx="7326314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3" hasCustomPrompt="1"/>
          </p:nvPr>
        </p:nvSpPr>
        <p:spPr>
          <a:xfrm>
            <a:off x="8296277" y="0"/>
            <a:ext cx="3902075" cy="3429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4" hasCustomPrompt="1"/>
          </p:nvPr>
        </p:nvSpPr>
        <p:spPr>
          <a:xfrm>
            <a:off x="8296277" y="3430588"/>
            <a:ext cx="3902075" cy="342900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7096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r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0" y="439739"/>
            <a:ext cx="95964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95964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1627188"/>
            <a:ext cx="9596438" cy="4511676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10564814" y="0"/>
            <a:ext cx="1633537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54334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482599" y="1627189"/>
            <a:ext cx="3419475" cy="2147838"/>
          </a:xfrm>
          <a:solidFill>
            <a:schemeClr val="bg1">
              <a:lumMod val="95000"/>
            </a:schemeClr>
          </a:solidFill>
        </p:spPr>
        <p:txBody>
          <a:bodyPr lIns="72000" r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23426" y="1627189"/>
            <a:ext cx="7593912" cy="214783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482599" y="3991026"/>
            <a:ext cx="3419475" cy="214783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123426" y="3990976"/>
            <a:ext cx="7593912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1616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2602" y="1627189"/>
            <a:ext cx="7326313" cy="2149474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8296278" y="1627192"/>
            <a:ext cx="3421063" cy="2149475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2601" y="3990979"/>
            <a:ext cx="7323208" cy="2147889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296278" y="3990979"/>
            <a:ext cx="3421063" cy="2147889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17461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3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482599" y="1627187"/>
            <a:ext cx="3419475" cy="1359892"/>
          </a:xfrm>
          <a:solidFill>
            <a:schemeClr val="bg1">
              <a:lumMod val="95000"/>
            </a:schemeClr>
          </a:solidFill>
        </p:spPr>
        <p:txBody>
          <a:bodyPr lIns="72000" r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123426" y="1627187"/>
            <a:ext cx="7593912" cy="1359892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482599" y="3203079"/>
            <a:ext cx="3419475" cy="135989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123426" y="3203079"/>
            <a:ext cx="7593912" cy="1359892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>
          <a:xfrm>
            <a:off x="482599" y="4778972"/>
            <a:ext cx="3419475" cy="135989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4123426" y="4778972"/>
            <a:ext cx="7593912" cy="1359892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7669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3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2602" y="1627189"/>
            <a:ext cx="7326313" cy="1359890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8296278" y="1627188"/>
            <a:ext cx="3421063" cy="1359890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2601" y="3203081"/>
            <a:ext cx="7323208" cy="1359892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296278" y="3203081"/>
            <a:ext cx="3421063" cy="135989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82601" y="4778972"/>
            <a:ext cx="7323208" cy="1359892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8" hasCustomPrompt="1"/>
          </p:nvPr>
        </p:nvSpPr>
        <p:spPr>
          <a:xfrm>
            <a:off x="8296278" y="4778972"/>
            <a:ext cx="3421063" cy="1359892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87187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482600" y="1627192"/>
            <a:ext cx="11234738" cy="2149475"/>
          </a:xfrm>
          <a:solidFill>
            <a:schemeClr val="bg1">
              <a:lumMod val="95000"/>
            </a:schemeClr>
          </a:solidFill>
        </p:spPr>
        <p:txBody>
          <a:bodyPr lIns="72000" r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2602" y="3990979"/>
            <a:ext cx="3419475" cy="2147889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387853" y="3990975"/>
            <a:ext cx="3421063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8296278" y="3990975"/>
            <a:ext cx="3421063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89137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2510619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uppieren 4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3" name="Gerade Verbindung 42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8F182C2-F13B-4946-8FBE-E79FB2EE8CCB}"/>
              </a:ext>
            </a:extLst>
          </p:cNvPr>
          <p:cNvSpPr/>
          <p:nvPr userDrawn="1"/>
        </p:nvSpPr>
        <p:spPr>
          <a:xfrm>
            <a:off x="0" y="0"/>
            <a:ext cx="12198350" cy="685958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 err="1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8CB1626-65BC-4613-9C74-E79CC58B66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263175" y="3175316"/>
            <a:ext cx="3672000" cy="50895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3572976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3 Imag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2601" y="439739"/>
            <a:ext cx="11234738" cy="307648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600" y="783517"/>
            <a:ext cx="11234738" cy="215444"/>
          </a:xfrm>
        </p:spPr>
        <p:txBody>
          <a:bodyPr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en-GB" noProof="0" dirty="0"/>
              <a:t>Please click here to edit subtitle master format, Arial, 14 </a:t>
            </a:r>
            <a:r>
              <a:rPr lang="en-GB" noProof="0" dirty="0" err="1"/>
              <a:t>pt</a:t>
            </a:r>
            <a:r>
              <a:rPr lang="en-GB" noProof="0" dirty="0"/>
              <a:t>, bold</a:t>
            </a:r>
            <a:endParaRPr lang="en-GB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2" hasCustomPrompt="1"/>
          </p:nvPr>
        </p:nvSpPr>
        <p:spPr>
          <a:xfrm>
            <a:off x="482600" y="1627192"/>
            <a:ext cx="3417208" cy="2149475"/>
          </a:xfrm>
          <a:solidFill>
            <a:schemeClr val="bg1">
              <a:lumMod val="95000"/>
            </a:schemeClr>
          </a:solidFill>
        </p:spPr>
        <p:txBody>
          <a:bodyPr lIns="72000" r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2600" y="3990976"/>
            <a:ext cx="3417208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4385809" y="1627192"/>
            <a:ext cx="3417208" cy="2149475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385809" y="3990976"/>
            <a:ext cx="3417208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6" hasCustomPrompt="1"/>
          </p:nvPr>
        </p:nvSpPr>
        <p:spPr>
          <a:xfrm>
            <a:off x="8300130" y="1627192"/>
            <a:ext cx="3417208" cy="2149475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00130" y="3990976"/>
            <a:ext cx="3417208" cy="2147888"/>
          </a:xfrm>
        </p:spPr>
        <p:txBody>
          <a:bodyPr/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32408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here to enter tex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sentation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31616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3" name="Gerade Verbindung 2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Gerade Verbindung 3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4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909999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4492198" y="2949081"/>
            <a:ext cx="3282373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4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en-GB" sz="1601" cap="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2" name="Gerade Verbindung 41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 rot="5400000" flipV="1">
              <a:off x="-212725" y="384810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>
            <a:xfrm rot="5400000" flipV="1">
              <a:off x="-212725" y="4065587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 rot="5400000" flipV="1">
              <a:off x="12449175" y="384810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 rot="5400000" flipV="1">
              <a:off x="12449175" y="4065587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oup 5"/>
          <p:cNvGrpSpPr>
            <a:grpSpLocks noChangeAspect="1"/>
          </p:cNvGrpSpPr>
          <p:nvPr userDrawn="1"/>
        </p:nvGrpSpPr>
        <p:grpSpPr bwMode="auto">
          <a:xfrm>
            <a:off x="10683881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79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0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1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2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3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4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5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6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7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8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20162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2896978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634333" y="2570849"/>
            <a:ext cx="8929689" cy="861774"/>
          </a:xfrm>
        </p:spPr>
        <p:txBody>
          <a:bodyPr/>
          <a:lstStyle>
            <a:lvl1pPr algn="ctr">
              <a:defRPr sz="2800" cap="all" baseline="0"/>
            </a:lvl1pPr>
          </a:lstStyle>
          <a:p>
            <a:r>
              <a:rPr lang="en-GB" dirty="0" err="1"/>
              <a:t>Titleslide</a:t>
            </a:r>
            <a:r>
              <a:rPr lang="en-GB" dirty="0"/>
              <a:t> 1 – Title, two lines,</a:t>
            </a:r>
            <a:br>
              <a:rPr lang="en-GB" dirty="0"/>
            </a:br>
            <a:r>
              <a:rPr lang="en-GB" dirty="0"/>
              <a:t>all caps, Arial 28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634331" y="3608682"/>
            <a:ext cx="8929688" cy="307777"/>
          </a:xfrm>
        </p:spPr>
        <p:txBody>
          <a:bodyPr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20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4331" y="4034902"/>
            <a:ext cx="8929688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 cap="none" spc="0" baseline="0"/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406" name="Gruppieren 405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07" name="Gerade Verbindung 406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407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Gerade Verbindung 408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Gerade Verbindung 409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Gerade Verbindung 410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Gerade Verbindung 411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Gerade Verbindung 412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Gerade Verbindung 413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Gerade Verbindung 414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Gerade Verbindung 415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Gerade Verbindung 416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Gerade Verbindung 417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418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419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420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Gerade Verbindung 421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Gerade Verbindung 422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Gerade Verbindung 423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Gerade Verbindung 424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Gerade Verbindung 425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Gerade Verbindung 426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Gerade Verbindung 427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Gerade Verbindung 428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Gerade Verbindung 429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Gerade Verbindung 430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Gerade Verbindung 431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Gerade Verbindung 432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Gerade Verbindung 433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Gerade Verbindung 434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Gerade Verbindung 435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Gerade Verbindung 436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Gerade Verbindung 437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Gerade Verbindung 438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Gerade Verbindung 439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Gerade Verbindung 440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Gerade Verbindung 441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"/>
          <p:cNvGrpSpPr>
            <a:grpSpLocks noChangeAspect="1"/>
          </p:cNvGrpSpPr>
          <p:nvPr userDrawn="1"/>
        </p:nvGrpSpPr>
        <p:grpSpPr bwMode="auto">
          <a:xfrm>
            <a:off x="5184227" y="6288056"/>
            <a:ext cx="1829899" cy="255196"/>
            <a:chOff x="1661" y="1447"/>
            <a:chExt cx="2438" cy="340"/>
          </a:xfrm>
          <a:solidFill>
            <a:schemeClr val="tx1"/>
          </a:solidFill>
        </p:grpSpPr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8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9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0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858270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94787517-60D5-4BAD-BB11-FA1914F23770}"/>
              </a:ext>
            </a:extLst>
          </p:cNvPr>
          <p:cNvSpPr/>
          <p:nvPr userDrawn="1"/>
        </p:nvSpPr>
        <p:spPr>
          <a:xfrm>
            <a:off x="0" y="0"/>
            <a:ext cx="12198350" cy="685958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 err="1">
              <a:solidFill>
                <a:schemeClr val="tx1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26178845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634333" y="2570849"/>
            <a:ext cx="8929689" cy="861774"/>
          </a:xfrm>
        </p:spPr>
        <p:txBody>
          <a:bodyPr/>
          <a:lstStyle>
            <a:lvl1pPr algn="ctr">
              <a:defRPr sz="2800" cap="all" baseline="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Titleslide</a:t>
            </a:r>
            <a:r>
              <a:rPr lang="en-GB" dirty="0"/>
              <a:t> 1 – Title, two lines,</a:t>
            </a:r>
            <a:br>
              <a:rPr lang="en-GB" dirty="0"/>
            </a:br>
            <a:r>
              <a:rPr lang="en-GB" dirty="0"/>
              <a:t>all caps, Arial 28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634331" y="3608682"/>
            <a:ext cx="8929688" cy="307777"/>
          </a:xfrm>
        </p:spPr>
        <p:txBody>
          <a:bodyPr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bg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20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4331" y="4034902"/>
            <a:ext cx="8929688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406" name="Gruppieren 405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07" name="Gerade Verbindung 406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8" name="Gerade Verbindung 407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Gerade Verbindung 408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Gerade Verbindung 409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Gerade Verbindung 410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Gerade Verbindung 411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Gerade Verbindung 412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Gerade Verbindung 413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Gerade Verbindung 414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Gerade Verbindung 415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Gerade Verbindung 416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Gerade Verbindung 417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418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419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420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Gerade Verbindung 421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Gerade Verbindung 422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Gerade Verbindung 423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Gerade Verbindung 424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Gerade Verbindung 425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Gerade Verbindung 426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Gerade Verbindung 427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Gerade Verbindung 428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Gerade Verbindung 429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Gerade Verbindung 430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Gerade Verbindung 431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Gerade Verbindung 432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Gerade Verbindung 433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Gerade Verbindung 434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Gerade Verbindung 435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Gerade Verbindung 436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Gerade Verbindung 437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Gerade Verbindung 438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Gerade Verbindung 439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Gerade Verbindung 440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Gerade Verbindung 441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EA24C5F3-58D4-4C8E-B23E-443293F5906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303720" y="6310982"/>
            <a:ext cx="1828800" cy="25348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30806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6080029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5264462"/>
            <a:ext cx="12198350" cy="1595129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indent="0">
              <a:buNone/>
              <a:defRPr baseline="0"/>
            </a:lvl1pPr>
          </a:lstStyle>
          <a:p>
            <a:r>
              <a:rPr lang="en-GB" noProof="0" dirty="0"/>
              <a:t>Please click on icon to insert an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634333" y="1920880"/>
            <a:ext cx="8929689" cy="861774"/>
          </a:xfrm>
        </p:spPr>
        <p:txBody>
          <a:bodyPr/>
          <a:lstStyle>
            <a:lvl1pPr algn="ctr">
              <a:defRPr sz="2800" cap="all" baseline="0"/>
            </a:lvl1pPr>
          </a:lstStyle>
          <a:p>
            <a:r>
              <a:rPr lang="en-GB" dirty="0" err="1"/>
              <a:t>TitlEslide</a:t>
            </a:r>
            <a:r>
              <a:rPr lang="en-GB" dirty="0"/>
              <a:t> 2 – Title, two lines,</a:t>
            </a:r>
            <a:br>
              <a:rPr lang="en-GB" dirty="0"/>
            </a:br>
            <a:r>
              <a:rPr lang="en-GB" dirty="0"/>
              <a:t>all caps, Arial 28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634331" y="2977763"/>
            <a:ext cx="8929688" cy="307777"/>
          </a:xfrm>
        </p:spPr>
        <p:txBody>
          <a:bodyPr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20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4331" y="3403982"/>
            <a:ext cx="8929688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 cap="none" spc="0" baseline="0"/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407" name="Gruppieren 406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408" name="Gerade Verbindung 407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9" name="Gerade Verbindung 408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0" name="Gerade Verbindung 409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1" name="Gerade Verbindung 410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2" name="Gerade Verbindung 411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3" name="Gerade Verbindung 412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4" name="Gerade Verbindung 413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5" name="Gerade Verbindung 414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6" name="Gerade Verbindung 415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7" name="Gerade Verbindung 416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8" name="Gerade Verbindung 417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9" name="Gerade Verbindung 418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0" name="Gerade Verbindung 419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Gerade Verbindung 420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2" name="Gerade Verbindung 421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3" name="Gerade Verbindung 422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4" name="Gerade Verbindung 423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5" name="Gerade Verbindung 424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6" name="Gerade Verbindung 425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7" name="Gerade Verbindung 426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8" name="Gerade Verbindung 427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9" name="Gerade Verbindung 428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0" name="Gerade Verbindung 429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1" name="Gerade Verbindung 430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2" name="Gerade Verbindung 431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3" name="Gerade Verbindung 432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4" name="Gerade Verbindung 433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5" name="Gerade Verbindung 434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6" name="Gerade Verbindung 435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7" name="Gerade Verbindung 436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8" name="Gerade Verbindung 437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9" name="Gerade Verbindung 438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0" name="Gerade Verbindung 439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1" name="Gerade Verbindung 440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2" name="Gerade Verbindung 441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3" name="Gerade Verbindung 442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"/>
          <p:cNvGrpSpPr>
            <a:grpSpLocks noChangeAspect="1"/>
          </p:cNvGrpSpPr>
          <p:nvPr userDrawn="1"/>
        </p:nvGrpSpPr>
        <p:grpSpPr bwMode="auto">
          <a:xfrm>
            <a:off x="5184227" y="4734946"/>
            <a:ext cx="1829899" cy="255196"/>
            <a:chOff x="1661" y="1447"/>
            <a:chExt cx="2438" cy="340"/>
          </a:xfrm>
          <a:solidFill>
            <a:schemeClr val="tx1"/>
          </a:solidFill>
        </p:grpSpPr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0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1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809734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siz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342324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4"/>
            <a:ext cx="12198350" cy="6859587"/>
          </a:xfrm>
          <a:custGeom>
            <a:avLst/>
            <a:gdLst/>
            <a:ahLst/>
            <a:cxnLst/>
            <a:rect l="l" t="t" r="r" b="b"/>
            <a:pathLst>
              <a:path w="12198350" h="6859587">
                <a:moveTo>
                  <a:pt x="0" y="5246703"/>
                </a:moveTo>
                <a:lnTo>
                  <a:pt x="12198350" y="5246703"/>
                </a:lnTo>
                <a:lnTo>
                  <a:pt x="12198350" y="6859587"/>
                </a:lnTo>
                <a:lnTo>
                  <a:pt x="0" y="685958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1615736"/>
                </a:lnTo>
                <a:lnTo>
                  <a:pt x="0" y="1615736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Please click on icon to insert an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635127" y="1920880"/>
            <a:ext cx="8929689" cy="861774"/>
          </a:xfrm>
        </p:spPr>
        <p:txBody>
          <a:bodyPr/>
          <a:lstStyle>
            <a:lvl1pPr algn="ctr">
              <a:defRPr sz="2800" cap="all" baseline="0"/>
            </a:lvl1pPr>
          </a:lstStyle>
          <a:p>
            <a:r>
              <a:rPr lang="en-GB" dirty="0" err="1"/>
              <a:t>TitlEslide</a:t>
            </a:r>
            <a:r>
              <a:rPr lang="en-GB" dirty="0"/>
              <a:t> 3 – Title, two lines,</a:t>
            </a:r>
            <a:br>
              <a:rPr lang="en-GB" dirty="0"/>
            </a:br>
            <a:r>
              <a:rPr lang="en-GB" dirty="0"/>
              <a:t>all caps, Arial 28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635125" y="2977763"/>
            <a:ext cx="8929688" cy="307777"/>
          </a:xfrm>
        </p:spPr>
        <p:txBody>
          <a:bodyPr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20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635125" y="3403982"/>
            <a:ext cx="8929688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 cap="none" spc="0" baseline="0"/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853" name="Gruppieren 852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854" name="Gerade Verbindung 853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5" name="Gerade Verbindung 854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6" name="Gerade Verbindung 855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7" name="Gerade Verbindung 856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8" name="Gerade Verbindung 857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9" name="Gerade Verbindung 858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0" name="Gerade Verbindung 859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1" name="Gerade Verbindung 860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2" name="Gerade Verbindung 861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3" name="Gerade Verbindung 862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4" name="Gerade Verbindung 863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5" name="Gerade Verbindung 864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6" name="Gerade Verbindung 865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7" name="Gerade Verbindung 866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8" name="Gerade Verbindung 867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9" name="Gerade Verbindung 868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0" name="Gerade Verbindung 869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1" name="Gerade Verbindung 870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2" name="Gerade Verbindung 871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3" name="Gerade Verbindung 872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4" name="Gerade Verbindung 873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5" name="Gerade Verbindung 874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6" name="Gerade Verbindung 875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7" name="Gerade Verbindung 876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8" name="Gerade Verbindung 877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9" name="Gerade Verbindung 878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0" name="Gerade Verbindung 879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1" name="Gerade Verbindung 880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2" name="Gerade Verbindung 881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3" name="Gerade Verbindung 882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4" name="Gerade Verbindung 883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5" name="Gerade Verbindung 884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6" name="Gerade Verbindung 885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7" name="Gerade Verbindung 886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8" name="Gerade Verbindung 887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9" name="Gerade Verbindung 888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"/>
          <p:cNvGrpSpPr>
            <a:grpSpLocks noChangeAspect="1"/>
          </p:cNvGrpSpPr>
          <p:nvPr userDrawn="1"/>
        </p:nvGrpSpPr>
        <p:grpSpPr bwMode="auto">
          <a:xfrm>
            <a:off x="5184227" y="4734946"/>
            <a:ext cx="1829899" cy="255196"/>
            <a:chOff x="1661" y="1447"/>
            <a:chExt cx="2438" cy="340"/>
          </a:xfrm>
          <a:solidFill>
            <a:schemeClr val="tx1"/>
          </a:solidFill>
        </p:grpSpPr>
        <p:sp>
          <p:nvSpPr>
            <p:cNvPr id="57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8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59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0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1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8750995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vertical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5004521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956467" y="1920880"/>
            <a:ext cx="6176963" cy="861774"/>
          </a:xfrm>
        </p:spPr>
        <p:txBody>
          <a:bodyPr/>
          <a:lstStyle>
            <a:lvl1pPr algn="ctr">
              <a:defRPr sz="2800" cap="all" baseline="0"/>
            </a:lvl1pPr>
          </a:lstStyle>
          <a:p>
            <a:r>
              <a:rPr lang="en-US" dirty="0" err="1"/>
              <a:t>TitlEslide</a:t>
            </a:r>
            <a:r>
              <a:rPr lang="en-US" dirty="0"/>
              <a:t> 4 – TITLE, two lines</a:t>
            </a:r>
            <a:br>
              <a:rPr lang="en-US" dirty="0"/>
            </a:br>
            <a:r>
              <a:rPr lang="en-US" dirty="0"/>
              <a:t>ALL CAPS, Arial 2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956467" y="2977763"/>
            <a:ext cx="6176962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2" y="0"/>
            <a:ext cx="3902075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82" name="Gerade Verbindung 81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89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98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101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104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07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10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13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115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57261" y="3403982"/>
            <a:ext cx="6175375" cy="246221"/>
          </a:xfrm>
        </p:spPr>
        <p:txBody>
          <a:bodyPr>
            <a:noAutofit/>
          </a:bodyPr>
          <a:lstStyle>
            <a:lvl1pPr marL="0" indent="0" algn="ctr">
              <a:buNone/>
              <a:defRPr sz="1600" cap="none" spc="0" baseline="0"/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grpSp>
        <p:nvGrpSpPr>
          <p:cNvPr id="66" name="Group 5">
            <a:extLst>
              <a:ext uri="{FF2B5EF4-FFF2-40B4-BE49-F238E27FC236}">
                <a16:creationId xmlns:a16="http://schemas.microsoft.com/office/drawing/2014/main" xmlns="" id="{AB027E26-E014-4885-B747-B300487F929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129999" y="6362674"/>
            <a:ext cx="1829899" cy="255196"/>
            <a:chOff x="1661" y="1447"/>
            <a:chExt cx="2438" cy="340"/>
          </a:xfrm>
          <a:solidFill>
            <a:schemeClr val="tx1"/>
          </a:solidFill>
        </p:grpSpPr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xmlns="" id="{802A1065-39D9-4A43-A932-9812F6F69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xmlns="" id="{0143FA95-5EB1-40A8-8CDC-634E52701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xmlns="" id="{1B9978AA-264B-4D42-ADFB-84FAE8B9F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0" name="Freeform 9">
              <a:extLst>
                <a:ext uri="{FF2B5EF4-FFF2-40B4-BE49-F238E27FC236}">
                  <a16:creationId xmlns:a16="http://schemas.microsoft.com/office/drawing/2014/main" xmlns="" id="{2E1DD438-3DB1-475D-9578-22E240596E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xmlns="" id="{AB2E0C2E-7D74-421C-AA1F-B5A93687FF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xmlns="" id="{5E42609A-80DB-48D4-9A75-CE2408342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xmlns="" id="{CDC0870D-3EEA-4445-B86E-99CDBCC67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4" name="Freeform 13">
              <a:extLst>
                <a:ext uri="{FF2B5EF4-FFF2-40B4-BE49-F238E27FC236}">
                  <a16:creationId xmlns:a16="http://schemas.microsoft.com/office/drawing/2014/main" xmlns="" id="{00AD2102-6126-4DC8-9DA8-1C42357C0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xmlns="" id="{7121D883-8378-4B0D-B9CA-593CC7595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xmlns="" id="{34D3C515-2D05-4F50-8EEF-19B99FBE3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sz="3200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80265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full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8350" cy="6859588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/>
          <a:lstStyle>
            <a:lvl1pPr marL="0" marR="0" indent="0" algn="l" defTabSz="10888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noProof="0" dirty="0"/>
              <a:t>Please click on icon to insert an image</a:t>
            </a:r>
          </a:p>
          <a:p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xmlns="" id="{D052CA2A-A225-481B-A6EF-C19E0CE54A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35127" y="1920880"/>
            <a:ext cx="8929689" cy="861774"/>
          </a:xfrm>
        </p:spPr>
        <p:txBody>
          <a:bodyPr/>
          <a:lstStyle>
            <a:lvl1pPr algn="ctr">
              <a:defRPr sz="2800" cap="all" baseline="0"/>
            </a:lvl1pPr>
          </a:lstStyle>
          <a:p>
            <a:r>
              <a:rPr lang="en-GB" dirty="0" err="1"/>
              <a:t>TitlEslide</a:t>
            </a:r>
            <a:r>
              <a:rPr lang="en-GB" dirty="0"/>
              <a:t> 5 – Title, two lines,</a:t>
            </a:r>
            <a:br>
              <a:rPr lang="en-GB" dirty="0"/>
            </a:br>
            <a:r>
              <a:rPr lang="en-GB" dirty="0"/>
              <a:t>all caps, Arial 28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xmlns="" id="{744BC14C-AA48-4A9D-BFE1-343B36A2F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635125" y="2977763"/>
            <a:ext cx="8929688" cy="307777"/>
          </a:xfrm>
        </p:spPr>
        <p:txBody>
          <a:bodyPr>
            <a:spAutoFit/>
          </a:bodyPr>
          <a:lstStyle>
            <a:lvl1pPr marL="0" indent="0" algn="ctr">
              <a:buNone/>
              <a:defRPr sz="2000" cap="none" baseline="0">
                <a:solidFill>
                  <a:schemeClr val="tx1"/>
                </a:solidFill>
              </a:defRPr>
            </a:lvl1pPr>
            <a:lvl2pPr marL="54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2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3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, Arial, 20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xmlns="" id="{446A2BA1-CB6E-48AE-AFD9-F72D6D6807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5125" y="3403982"/>
            <a:ext cx="8929688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 cap="none" spc="0" baseline="0"/>
            </a:lvl1pPr>
          </a:lstStyle>
          <a:p>
            <a:pPr lvl="0"/>
            <a:r>
              <a:rPr lang="en-GB" dirty="0"/>
              <a:t>Month, Day, Year,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8" name="Textfeld 9">
            <a:extLst>
              <a:ext uri="{FF2B5EF4-FFF2-40B4-BE49-F238E27FC236}">
                <a16:creationId xmlns:a16="http://schemas.microsoft.com/office/drawing/2014/main" xmlns="" id="{25A16ECA-2017-47C8-B7F7-0B82B4E3F015}"/>
              </a:ext>
            </a:extLst>
          </p:cNvPr>
          <p:cNvSpPr txBox="1"/>
          <p:nvPr userDrawn="1"/>
        </p:nvSpPr>
        <p:spPr>
          <a:xfrm>
            <a:off x="-2894538" y="1256184"/>
            <a:ext cx="253274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000" dirty="0">
                <a:solidFill>
                  <a:schemeClr val="accent4"/>
                </a:solidFill>
              </a:rPr>
              <a:t>Specific Visuals for fullbleed title slide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000" b="1" u="sng" dirty="0">
                <a:solidFill>
                  <a:schemeClr val="accent4"/>
                </a:solidFill>
              </a:rPr>
              <a:t>with logo </a:t>
            </a:r>
            <a:r>
              <a:rPr lang="en-US" sz="1000" dirty="0">
                <a:solidFill>
                  <a:schemeClr val="accent4"/>
                </a:solidFill>
              </a:rPr>
              <a:t>can be found in SCB_Image_Bank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99112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434604525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82600" y="439739"/>
            <a:ext cx="11234738" cy="3076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/>
              <a:t>Please click here to edit master format, Arial, 20 </a:t>
            </a:r>
            <a:r>
              <a:rPr lang="en-GB" noProof="0" dirty="0" err="1"/>
              <a:t>pt</a:t>
            </a:r>
            <a:r>
              <a:rPr lang="en-GB" noProof="0" dirty="0"/>
              <a:t>, all caps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82600" y="1627191"/>
            <a:ext cx="11234738" cy="45116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08422" y="6573537"/>
            <a:ext cx="422909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z="800" b="0" cap="all" baseline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title</a:t>
            </a:r>
          </a:p>
        </p:txBody>
      </p:sp>
      <p:sp>
        <p:nvSpPr>
          <p:cNvPr id="9" name="Shape 24"/>
          <p:cNvSpPr txBox="1">
            <a:spLocks/>
          </p:cNvSpPr>
          <p:nvPr userDrawn="1"/>
        </p:nvSpPr>
        <p:spPr>
          <a:xfrm>
            <a:off x="482599" y="6573537"/>
            <a:ext cx="203582" cy="123111"/>
          </a:xfrm>
          <a:prstGeom prst="rect">
            <a:avLst/>
          </a:prstGeom>
          <a:ln>
            <a:round/>
          </a:ln>
        </p:spPr>
        <p:txBody>
          <a:bodyPr wrap="none" lIns="0" tIns="0" rIns="0" bIns="0" anchor="t">
            <a:spAutoFit/>
          </a:bodyPr>
          <a:lstStyle>
            <a:defPPr>
              <a:defRPr lang="en-US"/>
            </a:defPPr>
            <a:lvl1pPr marL="0" algn="r" defTabSz="485775" rtl="0" eaLnBrk="1" latinLnBrk="0" hangingPunct="1">
              <a:defRPr sz="600" b="0" i="0" kern="1200">
                <a:solidFill>
                  <a:schemeClr val="accent6"/>
                </a:solidFill>
                <a:uFill>
                  <a:solidFill>
                    <a:srgbClr val="929292"/>
                  </a:solidFill>
                </a:u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Helvetica Neue"/>
              </a:defRPr>
            </a:lvl1pPr>
            <a:lvl2pPr marL="457167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1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2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9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3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6" algn="l" defTabSz="45716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DEE02256-A008-4F05-8735-E15A2174B406}" type="slidenum">
              <a:rPr lang="en-GB" sz="800" smtClean="0">
                <a:solidFill>
                  <a:schemeClr val="tx1"/>
                </a:solidFill>
              </a:rPr>
              <a:pPr algn="l"/>
              <a:t>‹#›</a:t>
            </a:fld>
            <a:endParaRPr lang="en-GB" sz="800" dirty="0">
              <a:solidFill>
                <a:schemeClr val="tx1"/>
              </a:solidFill>
            </a:endParaRPr>
          </a:p>
        </p:txBody>
      </p:sp>
      <p:grpSp>
        <p:nvGrpSpPr>
          <p:cNvPr id="73" name="Gruppieren 72"/>
          <p:cNvGrpSpPr/>
          <p:nvPr userDrawn="1"/>
        </p:nvGrpSpPr>
        <p:grpSpPr>
          <a:xfrm>
            <a:off x="-298448" y="-295275"/>
            <a:ext cx="12833350" cy="7458075"/>
            <a:chOff x="-298450" y="-295275"/>
            <a:chExt cx="12833350" cy="7458075"/>
          </a:xfrm>
        </p:grpSpPr>
        <p:cxnSp>
          <p:nvCxnSpPr>
            <p:cNvPr id="29" name="Gerade Verbindung 28"/>
            <p:cNvCxnSpPr/>
            <p:nvPr userDrawn="1"/>
          </p:nvCxnSpPr>
          <p:spPr>
            <a:xfrm flipV="1">
              <a:off x="4826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>
            <a:xfrm flipV="1">
              <a:off x="16351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>
            <a:xfrm flipV="1">
              <a:off x="21209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>
            <a:xfrm flipV="1">
              <a:off x="3901281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>
            <a:xfrm flipV="1">
              <a:off x="4387056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>
            <a:xfrm flipV="1">
              <a:off x="5864225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>
            <a:xfrm flipV="1">
              <a:off x="6350000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>
            <a:xfrm flipV="1">
              <a:off x="7808119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>
            <a:xfrm flipV="1">
              <a:off x="8293894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>
            <a:xfrm flipV="1">
              <a:off x="10076657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>
            <a:xfrm flipV="1">
              <a:off x="10562432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>
            <a:xfrm flipV="1">
              <a:off x="11717338" y="-295275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>
            <a:xfrm flipV="1">
              <a:off x="4826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>
            <a:xfrm flipV="1">
              <a:off x="16351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 flipV="1">
              <a:off x="21209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 flipV="1">
              <a:off x="10076657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>
            <a:xfrm flipV="1">
              <a:off x="10562432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 flipV="1">
              <a:off x="11717338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 rot="5400000" flipV="1">
              <a:off x="-21272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>
            <a:xfrm rot="5400000" flipV="1">
              <a:off x="-21272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 rot="5400000" flipV="1">
              <a:off x="-21272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 rot="5400000" flipV="1">
              <a:off x="-21272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 rot="5400000" flipV="1">
              <a:off x="12449175" y="3540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 rot="5400000" flipV="1">
              <a:off x="12449175" y="69691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 rot="5400000" flipV="1">
              <a:off x="12449175" y="15414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 rot="5400000" flipV="1">
              <a:off x="12449175" y="6053138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 flipV="1">
              <a:off x="3901281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 flipV="1">
              <a:off x="4387056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 flipV="1">
              <a:off x="5864225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 flipV="1">
              <a:off x="6350000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>
            <a:xfrm flipV="1">
              <a:off x="7808119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 flipV="1">
              <a:off x="8293894" y="69913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 rot="5400000" flipV="1">
              <a:off x="-21272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>
            <a:xfrm rot="5400000" flipV="1">
              <a:off x="-21272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 rot="5400000" flipV="1">
              <a:off x="12449175" y="3687763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 rot="5400000" flipV="1">
              <a:off x="12449175" y="3905250"/>
              <a:ext cx="0" cy="17145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feld 3"/>
          <p:cNvSpPr txBox="1"/>
          <p:nvPr userDrawn="1"/>
        </p:nvSpPr>
        <p:spPr>
          <a:xfrm>
            <a:off x="686182" y="6561632"/>
            <a:ext cx="272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800" dirty="0"/>
              <a:t>|</a:t>
            </a:r>
          </a:p>
        </p:txBody>
      </p:sp>
      <p:grpSp>
        <p:nvGrpSpPr>
          <p:cNvPr id="79" name="Group 5"/>
          <p:cNvGrpSpPr>
            <a:grpSpLocks noChangeAspect="1"/>
          </p:cNvGrpSpPr>
          <p:nvPr userDrawn="1"/>
        </p:nvGrpSpPr>
        <p:grpSpPr bwMode="auto">
          <a:xfrm>
            <a:off x="10683881" y="6532024"/>
            <a:ext cx="1032560" cy="144000"/>
            <a:chOff x="1661" y="1447"/>
            <a:chExt cx="2438" cy="340"/>
          </a:xfrm>
          <a:solidFill>
            <a:schemeClr val="tx1"/>
          </a:solidFill>
        </p:grpSpPr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1661" y="1447"/>
              <a:ext cx="224" cy="340"/>
            </a:xfrm>
            <a:custGeom>
              <a:avLst/>
              <a:gdLst>
                <a:gd name="T0" fmla="*/ 51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6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1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1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9" y="8"/>
                    <a:pt x="51" y="8"/>
                  </a:cubicBezTo>
                  <a:cubicBezTo>
                    <a:pt x="66" y="8"/>
                    <a:pt x="83" y="19"/>
                    <a:pt x="86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3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5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8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1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1" name="Freeform 7"/>
            <p:cNvSpPr>
              <a:spLocks/>
            </p:cNvSpPr>
            <p:nvPr/>
          </p:nvSpPr>
          <p:spPr bwMode="auto">
            <a:xfrm>
              <a:off x="2578" y="1454"/>
              <a:ext cx="267" cy="326"/>
            </a:xfrm>
            <a:custGeom>
              <a:avLst/>
              <a:gdLst>
                <a:gd name="T0" fmla="*/ 95 w 113"/>
                <a:gd name="T1" fmla="*/ 120 h 138"/>
                <a:gd name="T2" fmla="*/ 58 w 113"/>
                <a:gd name="T3" fmla="*/ 70 h 138"/>
                <a:gd name="T4" fmla="*/ 96 w 113"/>
                <a:gd name="T5" fmla="*/ 32 h 138"/>
                <a:gd name="T6" fmla="*/ 51 w 113"/>
                <a:gd name="T7" fmla="*/ 0 h 138"/>
                <a:gd name="T8" fmla="*/ 0 w 113"/>
                <a:gd name="T9" fmla="*/ 0 h 138"/>
                <a:gd name="T10" fmla="*/ 0 w 113"/>
                <a:gd name="T11" fmla="*/ 3 h 138"/>
                <a:gd name="T12" fmla="*/ 0 w 113"/>
                <a:gd name="T13" fmla="*/ 3 h 138"/>
                <a:gd name="T14" fmla="*/ 11 w 113"/>
                <a:gd name="T15" fmla="*/ 12 h 138"/>
                <a:gd name="T16" fmla="*/ 11 w 113"/>
                <a:gd name="T17" fmla="*/ 126 h 138"/>
                <a:gd name="T18" fmla="*/ 11 w 113"/>
                <a:gd name="T19" fmla="*/ 126 h 138"/>
                <a:gd name="T20" fmla="*/ 0 w 113"/>
                <a:gd name="T21" fmla="*/ 135 h 138"/>
                <a:gd name="T22" fmla="*/ 0 w 113"/>
                <a:gd name="T23" fmla="*/ 138 h 138"/>
                <a:gd name="T24" fmla="*/ 0 w 113"/>
                <a:gd name="T25" fmla="*/ 138 h 138"/>
                <a:gd name="T26" fmla="*/ 41 w 113"/>
                <a:gd name="T27" fmla="*/ 138 h 138"/>
                <a:gd name="T28" fmla="*/ 41 w 113"/>
                <a:gd name="T29" fmla="*/ 135 h 138"/>
                <a:gd name="T30" fmla="*/ 31 w 113"/>
                <a:gd name="T31" fmla="*/ 126 h 138"/>
                <a:gd name="T32" fmla="*/ 31 w 113"/>
                <a:gd name="T33" fmla="*/ 8 h 138"/>
                <a:gd name="T34" fmla="*/ 42 w 113"/>
                <a:gd name="T35" fmla="*/ 8 h 138"/>
                <a:gd name="T36" fmla="*/ 78 w 113"/>
                <a:gd name="T37" fmla="*/ 36 h 138"/>
                <a:gd name="T38" fmla="*/ 36 w 113"/>
                <a:gd name="T39" fmla="*/ 66 h 138"/>
                <a:gd name="T40" fmla="*/ 87 w 113"/>
                <a:gd name="T41" fmla="*/ 138 h 138"/>
                <a:gd name="T42" fmla="*/ 113 w 113"/>
                <a:gd name="T43" fmla="*/ 138 h 138"/>
                <a:gd name="T44" fmla="*/ 113 w 113"/>
                <a:gd name="T45" fmla="*/ 135 h 138"/>
                <a:gd name="T46" fmla="*/ 95 w 113"/>
                <a:gd name="T47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3" h="138">
                  <a:moveTo>
                    <a:pt x="95" y="12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80" y="69"/>
                    <a:pt x="96" y="54"/>
                    <a:pt x="96" y="32"/>
                  </a:cubicBezTo>
                  <a:cubicBezTo>
                    <a:pt x="96" y="14"/>
                    <a:pt x="81" y="0"/>
                    <a:pt x="5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3"/>
                    <a:pt x="11" y="4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67" y="8"/>
                    <a:pt x="78" y="17"/>
                    <a:pt x="78" y="36"/>
                  </a:cubicBezTo>
                  <a:cubicBezTo>
                    <a:pt x="78" y="52"/>
                    <a:pt x="71" y="66"/>
                    <a:pt x="36" y="66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3" y="135"/>
                    <a:pt x="113" y="135"/>
                    <a:pt x="113" y="135"/>
                  </a:cubicBezTo>
                  <a:cubicBezTo>
                    <a:pt x="107" y="135"/>
                    <a:pt x="101" y="128"/>
                    <a:pt x="95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2" name="Freeform 8"/>
            <p:cNvSpPr>
              <a:spLocks/>
            </p:cNvSpPr>
            <p:nvPr/>
          </p:nvSpPr>
          <p:spPr bwMode="auto">
            <a:xfrm>
              <a:off x="1895" y="1454"/>
              <a:ext cx="418" cy="330"/>
            </a:xfrm>
            <a:custGeom>
              <a:avLst/>
              <a:gdLst>
                <a:gd name="T0" fmla="*/ 177 w 177"/>
                <a:gd name="T1" fmla="*/ 3 h 140"/>
                <a:gd name="T2" fmla="*/ 177 w 177"/>
                <a:gd name="T3" fmla="*/ 0 h 140"/>
                <a:gd name="T4" fmla="*/ 140 w 177"/>
                <a:gd name="T5" fmla="*/ 0 h 140"/>
                <a:gd name="T6" fmla="*/ 140 w 177"/>
                <a:gd name="T7" fmla="*/ 3 h 140"/>
                <a:gd name="T8" fmla="*/ 151 w 177"/>
                <a:gd name="T9" fmla="*/ 25 h 140"/>
                <a:gd name="T10" fmla="*/ 124 w 177"/>
                <a:gd name="T11" fmla="*/ 119 h 140"/>
                <a:gd name="T12" fmla="*/ 124 w 177"/>
                <a:gd name="T13" fmla="*/ 119 h 140"/>
                <a:gd name="T14" fmla="*/ 94 w 177"/>
                <a:gd name="T15" fmla="*/ 22 h 140"/>
                <a:gd name="T16" fmla="*/ 104 w 177"/>
                <a:gd name="T17" fmla="*/ 3 h 140"/>
                <a:gd name="T18" fmla="*/ 104 w 177"/>
                <a:gd name="T19" fmla="*/ 0 h 140"/>
                <a:gd name="T20" fmla="*/ 56 w 177"/>
                <a:gd name="T21" fmla="*/ 0 h 140"/>
                <a:gd name="T22" fmla="*/ 56 w 177"/>
                <a:gd name="T23" fmla="*/ 3 h 140"/>
                <a:gd name="T24" fmla="*/ 72 w 177"/>
                <a:gd name="T25" fmla="*/ 12 h 140"/>
                <a:gd name="T26" fmla="*/ 84 w 177"/>
                <a:gd name="T27" fmla="*/ 50 h 140"/>
                <a:gd name="T28" fmla="*/ 65 w 177"/>
                <a:gd name="T29" fmla="*/ 117 h 140"/>
                <a:gd name="T30" fmla="*/ 64 w 177"/>
                <a:gd name="T31" fmla="*/ 117 h 140"/>
                <a:gd name="T32" fmla="*/ 34 w 177"/>
                <a:gd name="T33" fmla="*/ 20 h 140"/>
                <a:gd name="T34" fmla="*/ 31 w 177"/>
                <a:gd name="T35" fmla="*/ 9 h 140"/>
                <a:gd name="T36" fmla="*/ 41 w 177"/>
                <a:gd name="T37" fmla="*/ 3 h 140"/>
                <a:gd name="T38" fmla="*/ 41 w 177"/>
                <a:gd name="T39" fmla="*/ 0 h 140"/>
                <a:gd name="T40" fmla="*/ 0 w 177"/>
                <a:gd name="T41" fmla="*/ 0 h 140"/>
                <a:gd name="T42" fmla="*/ 0 w 177"/>
                <a:gd name="T43" fmla="*/ 3 h 140"/>
                <a:gd name="T44" fmla="*/ 14 w 177"/>
                <a:gd name="T45" fmla="*/ 16 h 140"/>
                <a:gd name="T46" fmla="*/ 53 w 177"/>
                <a:gd name="T47" fmla="*/ 140 h 140"/>
                <a:gd name="T48" fmla="*/ 67 w 177"/>
                <a:gd name="T49" fmla="*/ 140 h 140"/>
                <a:gd name="T50" fmla="*/ 88 w 177"/>
                <a:gd name="T51" fmla="*/ 61 h 140"/>
                <a:gd name="T52" fmla="*/ 89 w 177"/>
                <a:gd name="T53" fmla="*/ 61 h 140"/>
                <a:gd name="T54" fmla="*/ 112 w 177"/>
                <a:gd name="T55" fmla="*/ 140 h 140"/>
                <a:gd name="T56" fmla="*/ 126 w 177"/>
                <a:gd name="T57" fmla="*/ 140 h 140"/>
                <a:gd name="T58" fmla="*/ 162 w 177"/>
                <a:gd name="T59" fmla="*/ 17 h 140"/>
                <a:gd name="T60" fmla="*/ 177 w 177"/>
                <a:gd name="T61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77" h="140">
                  <a:moveTo>
                    <a:pt x="177" y="3"/>
                  </a:moveTo>
                  <a:cubicBezTo>
                    <a:pt x="177" y="0"/>
                    <a:pt x="177" y="0"/>
                    <a:pt x="177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53" y="3"/>
                    <a:pt x="156" y="8"/>
                    <a:pt x="151" y="25"/>
                  </a:cubicBezTo>
                  <a:cubicBezTo>
                    <a:pt x="150" y="31"/>
                    <a:pt x="124" y="119"/>
                    <a:pt x="124" y="119"/>
                  </a:cubicBezTo>
                  <a:cubicBezTo>
                    <a:pt x="124" y="119"/>
                    <a:pt x="124" y="119"/>
                    <a:pt x="124" y="119"/>
                  </a:cubicBezTo>
                  <a:cubicBezTo>
                    <a:pt x="124" y="119"/>
                    <a:pt x="97" y="29"/>
                    <a:pt x="94" y="22"/>
                  </a:cubicBezTo>
                  <a:cubicBezTo>
                    <a:pt x="92" y="12"/>
                    <a:pt x="87" y="3"/>
                    <a:pt x="104" y="3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64" y="3"/>
                    <a:pt x="69" y="5"/>
                    <a:pt x="72" y="12"/>
                  </a:cubicBezTo>
                  <a:cubicBezTo>
                    <a:pt x="73" y="17"/>
                    <a:pt x="84" y="46"/>
                    <a:pt x="84" y="50"/>
                  </a:cubicBezTo>
                  <a:cubicBezTo>
                    <a:pt x="84" y="54"/>
                    <a:pt x="71" y="95"/>
                    <a:pt x="65" y="117"/>
                  </a:cubicBezTo>
                  <a:cubicBezTo>
                    <a:pt x="64" y="117"/>
                    <a:pt x="64" y="117"/>
                    <a:pt x="64" y="117"/>
                  </a:cubicBezTo>
                  <a:cubicBezTo>
                    <a:pt x="64" y="117"/>
                    <a:pt x="37" y="29"/>
                    <a:pt x="34" y="20"/>
                  </a:cubicBezTo>
                  <a:cubicBezTo>
                    <a:pt x="33" y="15"/>
                    <a:pt x="31" y="12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1" y="9"/>
                    <a:pt x="14" y="16"/>
                  </a:cubicBezTo>
                  <a:cubicBezTo>
                    <a:pt x="53" y="140"/>
                    <a:pt x="53" y="140"/>
                    <a:pt x="53" y="140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62" y="17"/>
                    <a:pt x="162" y="17"/>
                    <a:pt x="162" y="17"/>
                  </a:cubicBezTo>
                  <a:cubicBezTo>
                    <a:pt x="165" y="8"/>
                    <a:pt x="171" y="3"/>
                    <a:pt x="17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3" name="Freeform 9"/>
            <p:cNvSpPr>
              <a:spLocks noEditPoints="1"/>
            </p:cNvSpPr>
            <p:nvPr/>
          </p:nvSpPr>
          <p:spPr bwMode="auto">
            <a:xfrm>
              <a:off x="2254" y="1454"/>
              <a:ext cx="305" cy="326"/>
            </a:xfrm>
            <a:custGeom>
              <a:avLst/>
              <a:gdLst>
                <a:gd name="T0" fmla="*/ 114 w 129"/>
                <a:gd name="T1" fmla="*/ 118 h 138"/>
                <a:gd name="T2" fmla="*/ 71 w 129"/>
                <a:gd name="T3" fmla="*/ 0 h 138"/>
                <a:gd name="T4" fmla="*/ 47 w 129"/>
                <a:gd name="T5" fmla="*/ 0 h 138"/>
                <a:gd name="T6" fmla="*/ 47 w 129"/>
                <a:gd name="T7" fmla="*/ 3 h 138"/>
                <a:gd name="T8" fmla="*/ 53 w 129"/>
                <a:gd name="T9" fmla="*/ 9 h 138"/>
                <a:gd name="T10" fmla="*/ 52 w 129"/>
                <a:gd name="T11" fmla="*/ 16 h 138"/>
                <a:gd name="T12" fmla="*/ 15 w 129"/>
                <a:gd name="T13" fmla="*/ 121 h 138"/>
                <a:gd name="T14" fmla="*/ 0 w 129"/>
                <a:gd name="T15" fmla="*/ 135 h 138"/>
                <a:gd name="T16" fmla="*/ 0 w 129"/>
                <a:gd name="T17" fmla="*/ 138 h 138"/>
                <a:gd name="T18" fmla="*/ 36 w 129"/>
                <a:gd name="T19" fmla="*/ 138 h 138"/>
                <a:gd name="T20" fmla="*/ 36 w 129"/>
                <a:gd name="T21" fmla="*/ 135 h 138"/>
                <a:gd name="T22" fmla="*/ 23 w 129"/>
                <a:gd name="T23" fmla="*/ 128 h 138"/>
                <a:gd name="T24" fmla="*/ 26 w 129"/>
                <a:gd name="T25" fmla="*/ 116 h 138"/>
                <a:gd name="T26" fmla="*/ 37 w 129"/>
                <a:gd name="T27" fmla="*/ 85 h 138"/>
                <a:gd name="T28" fmla="*/ 83 w 129"/>
                <a:gd name="T29" fmla="*/ 85 h 138"/>
                <a:gd name="T30" fmla="*/ 92 w 129"/>
                <a:gd name="T31" fmla="*/ 110 h 138"/>
                <a:gd name="T32" fmla="*/ 98 w 129"/>
                <a:gd name="T33" fmla="*/ 129 h 138"/>
                <a:gd name="T34" fmla="*/ 87 w 129"/>
                <a:gd name="T35" fmla="*/ 135 h 138"/>
                <a:gd name="T36" fmla="*/ 87 w 129"/>
                <a:gd name="T37" fmla="*/ 138 h 138"/>
                <a:gd name="T38" fmla="*/ 129 w 129"/>
                <a:gd name="T39" fmla="*/ 138 h 138"/>
                <a:gd name="T40" fmla="*/ 129 w 129"/>
                <a:gd name="T41" fmla="*/ 135 h 138"/>
                <a:gd name="T42" fmla="*/ 114 w 129"/>
                <a:gd name="T43" fmla="*/ 118 h 138"/>
                <a:gd name="T44" fmla="*/ 39 w 129"/>
                <a:gd name="T45" fmla="*/ 77 h 138"/>
                <a:gd name="T46" fmla="*/ 60 w 129"/>
                <a:gd name="T47" fmla="*/ 17 h 138"/>
                <a:gd name="T48" fmla="*/ 60 w 129"/>
                <a:gd name="T49" fmla="*/ 17 h 138"/>
                <a:gd name="T50" fmla="*/ 81 w 129"/>
                <a:gd name="T51" fmla="*/ 77 h 138"/>
                <a:gd name="T52" fmla="*/ 39 w 129"/>
                <a:gd name="T53" fmla="*/ 7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9" h="138">
                  <a:moveTo>
                    <a:pt x="114" y="118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0" y="3"/>
                    <a:pt x="53" y="3"/>
                    <a:pt x="53" y="9"/>
                  </a:cubicBezTo>
                  <a:cubicBezTo>
                    <a:pt x="53" y="11"/>
                    <a:pt x="53" y="13"/>
                    <a:pt x="52" y="16"/>
                  </a:cubicBezTo>
                  <a:cubicBezTo>
                    <a:pt x="51" y="18"/>
                    <a:pt x="15" y="121"/>
                    <a:pt x="15" y="121"/>
                  </a:cubicBezTo>
                  <a:cubicBezTo>
                    <a:pt x="11" y="133"/>
                    <a:pt x="8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36" y="138"/>
                    <a:pt x="36" y="138"/>
                    <a:pt x="36" y="138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26" y="135"/>
                    <a:pt x="23" y="132"/>
                    <a:pt x="23" y="128"/>
                  </a:cubicBezTo>
                  <a:cubicBezTo>
                    <a:pt x="23" y="125"/>
                    <a:pt x="24" y="121"/>
                    <a:pt x="26" y="116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92" y="110"/>
                    <a:pt x="92" y="110"/>
                    <a:pt x="92" y="110"/>
                  </a:cubicBezTo>
                  <a:cubicBezTo>
                    <a:pt x="96" y="121"/>
                    <a:pt x="98" y="125"/>
                    <a:pt x="98" y="129"/>
                  </a:cubicBezTo>
                  <a:cubicBezTo>
                    <a:pt x="98" y="133"/>
                    <a:pt x="96" y="135"/>
                    <a:pt x="87" y="135"/>
                  </a:cubicBezTo>
                  <a:cubicBezTo>
                    <a:pt x="87" y="138"/>
                    <a:pt x="87" y="138"/>
                    <a:pt x="87" y="138"/>
                  </a:cubicBezTo>
                  <a:cubicBezTo>
                    <a:pt x="129" y="138"/>
                    <a:pt x="129" y="138"/>
                    <a:pt x="129" y="138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0" y="135"/>
                    <a:pt x="119" y="132"/>
                    <a:pt x="114" y="118"/>
                  </a:cubicBezTo>
                  <a:close/>
                  <a:moveTo>
                    <a:pt x="39" y="77"/>
                  </a:moveTo>
                  <a:cubicBezTo>
                    <a:pt x="60" y="17"/>
                    <a:pt x="60" y="17"/>
                    <a:pt x="60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81" y="77"/>
                    <a:pt x="81" y="77"/>
                    <a:pt x="81" y="77"/>
                  </a:cubicBezTo>
                  <a:lnTo>
                    <a:pt x="3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4" name="Freeform 10"/>
            <p:cNvSpPr>
              <a:spLocks noEditPoints="1"/>
            </p:cNvSpPr>
            <p:nvPr/>
          </p:nvSpPr>
          <p:spPr bwMode="auto">
            <a:xfrm>
              <a:off x="2842" y="1447"/>
              <a:ext cx="307" cy="340"/>
            </a:xfrm>
            <a:custGeom>
              <a:avLst/>
              <a:gdLst>
                <a:gd name="T0" fmla="*/ 67 w 130"/>
                <a:gd name="T1" fmla="*/ 0 h 144"/>
                <a:gd name="T2" fmla="*/ 0 w 130"/>
                <a:gd name="T3" fmla="*/ 72 h 144"/>
                <a:gd name="T4" fmla="*/ 63 w 130"/>
                <a:gd name="T5" fmla="*/ 144 h 144"/>
                <a:gd name="T6" fmla="*/ 130 w 130"/>
                <a:gd name="T7" fmla="*/ 70 h 144"/>
                <a:gd name="T8" fmla="*/ 67 w 130"/>
                <a:gd name="T9" fmla="*/ 0 h 144"/>
                <a:gd name="T10" fmla="*/ 70 w 130"/>
                <a:gd name="T11" fmla="*/ 133 h 144"/>
                <a:gd name="T12" fmla="*/ 16 w 130"/>
                <a:gd name="T13" fmla="*/ 65 h 144"/>
                <a:gd name="T14" fmla="*/ 59 w 130"/>
                <a:gd name="T15" fmla="*/ 12 h 144"/>
                <a:gd name="T16" fmla="*/ 111 w 130"/>
                <a:gd name="T17" fmla="*/ 78 h 144"/>
                <a:gd name="T18" fmla="*/ 70 w 130"/>
                <a:gd name="T19" fmla="*/ 13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44">
                  <a:moveTo>
                    <a:pt x="67" y="0"/>
                  </a:moveTo>
                  <a:cubicBezTo>
                    <a:pt x="35" y="0"/>
                    <a:pt x="0" y="30"/>
                    <a:pt x="0" y="72"/>
                  </a:cubicBezTo>
                  <a:cubicBezTo>
                    <a:pt x="0" y="111"/>
                    <a:pt x="22" y="144"/>
                    <a:pt x="63" y="144"/>
                  </a:cubicBezTo>
                  <a:cubicBezTo>
                    <a:pt x="104" y="144"/>
                    <a:pt x="130" y="107"/>
                    <a:pt x="130" y="70"/>
                  </a:cubicBezTo>
                  <a:cubicBezTo>
                    <a:pt x="130" y="39"/>
                    <a:pt x="112" y="0"/>
                    <a:pt x="67" y="0"/>
                  </a:cubicBezTo>
                  <a:close/>
                  <a:moveTo>
                    <a:pt x="70" y="133"/>
                  </a:moveTo>
                  <a:cubicBezTo>
                    <a:pt x="41" y="133"/>
                    <a:pt x="16" y="95"/>
                    <a:pt x="16" y="65"/>
                  </a:cubicBezTo>
                  <a:cubicBezTo>
                    <a:pt x="16" y="22"/>
                    <a:pt x="42" y="12"/>
                    <a:pt x="59" y="12"/>
                  </a:cubicBezTo>
                  <a:cubicBezTo>
                    <a:pt x="87" y="12"/>
                    <a:pt x="111" y="40"/>
                    <a:pt x="111" y="78"/>
                  </a:cubicBezTo>
                  <a:cubicBezTo>
                    <a:pt x="111" y="112"/>
                    <a:pt x="96" y="133"/>
                    <a:pt x="70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5" name="Freeform 11"/>
            <p:cNvSpPr>
              <a:spLocks/>
            </p:cNvSpPr>
            <p:nvPr/>
          </p:nvSpPr>
          <p:spPr bwMode="auto">
            <a:xfrm>
              <a:off x="3768" y="1454"/>
              <a:ext cx="208" cy="326"/>
            </a:xfrm>
            <a:custGeom>
              <a:avLst/>
              <a:gdLst>
                <a:gd name="T0" fmla="*/ 74 w 88"/>
                <a:gd name="T1" fmla="*/ 127 h 138"/>
                <a:gd name="T2" fmla="*/ 17 w 88"/>
                <a:gd name="T3" fmla="*/ 62 h 138"/>
                <a:gd name="T4" fmla="*/ 61 w 88"/>
                <a:gd name="T5" fmla="*/ 14 h 138"/>
                <a:gd name="T6" fmla="*/ 81 w 88"/>
                <a:gd name="T7" fmla="*/ 3 h 138"/>
                <a:gd name="T8" fmla="*/ 81 w 88"/>
                <a:gd name="T9" fmla="*/ 0 h 138"/>
                <a:gd name="T10" fmla="*/ 42 w 88"/>
                <a:gd name="T11" fmla="*/ 0 h 138"/>
                <a:gd name="T12" fmla="*/ 42 w 88"/>
                <a:gd name="T13" fmla="*/ 3 h 138"/>
                <a:gd name="T14" fmla="*/ 50 w 88"/>
                <a:gd name="T15" fmla="*/ 14 h 138"/>
                <a:gd name="T16" fmla="*/ 0 w 88"/>
                <a:gd name="T17" fmla="*/ 69 h 138"/>
                <a:gd name="T18" fmla="*/ 60 w 88"/>
                <a:gd name="T19" fmla="*/ 138 h 138"/>
                <a:gd name="T20" fmla="*/ 88 w 88"/>
                <a:gd name="T21" fmla="*/ 138 h 138"/>
                <a:gd name="T22" fmla="*/ 88 w 88"/>
                <a:gd name="T23" fmla="*/ 135 h 138"/>
                <a:gd name="T24" fmla="*/ 74 w 88"/>
                <a:gd name="T25" fmla="*/ 12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38">
                  <a:moveTo>
                    <a:pt x="74" y="127"/>
                  </a:move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57" y="19"/>
                    <a:pt x="61" y="14"/>
                  </a:cubicBezTo>
                  <a:cubicBezTo>
                    <a:pt x="67" y="7"/>
                    <a:pt x="73" y="3"/>
                    <a:pt x="81" y="3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58" y="3"/>
                    <a:pt x="53" y="11"/>
                    <a:pt x="50" y="14"/>
                  </a:cubicBezTo>
                  <a:cubicBezTo>
                    <a:pt x="47" y="17"/>
                    <a:pt x="0" y="69"/>
                    <a:pt x="0" y="69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88" y="138"/>
                    <a:pt x="88" y="138"/>
                    <a:pt x="88" y="138"/>
                  </a:cubicBezTo>
                  <a:cubicBezTo>
                    <a:pt x="88" y="135"/>
                    <a:pt x="88" y="135"/>
                    <a:pt x="88" y="135"/>
                  </a:cubicBezTo>
                  <a:cubicBezTo>
                    <a:pt x="82" y="135"/>
                    <a:pt x="78" y="132"/>
                    <a:pt x="7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6" name="Freeform 12"/>
            <p:cNvSpPr>
              <a:spLocks/>
            </p:cNvSpPr>
            <p:nvPr/>
          </p:nvSpPr>
          <p:spPr bwMode="auto">
            <a:xfrm>
              <a:off x="4002" y="1454"/>
              <a:ext cx="97" cy="326"/>
            </a:xfrm>
            <a:custGeom>
              <a:avLst/>
              <a:gdLst>
                <a:gd name="T0" fmla="*/ 41 w 41"/>
                <a:gd name="T1" fmla="*/ 3 h 138"/>
                <a:gd name="T2" fmla="*/ 41 w 41"/>
                <a:gd name="T3" fmla="*/ 0 h 138"/>
                <a:gd name="T4" fmla="*/ 0 w 41"/>
                <a:gd name="T5" fmla="*/ 0 h 138"/>
                <a:gd name="T6" fmla="*/ 0 w 41"/>
                <a:gd name="T7" fmla="*/ 3 h 138"/>
                <a:gd name="T8" fmla="*/ 11 w 41"/>
                <a:gd name="T9" fmla="*/ 12 h 138"/>
                <a:gd name="T10" fmla="*/ 11 w 41"/>
                <a:gd name="T11" fmla="*/ 126 h 138"/>
                <a:gd name="T12" fmla="*/ 0 w 41"/>
                <a:gd name="T13" fmla="*/ 135 h 138"/>
                <a:gd name="T14" fmla="*/ 0 w 41"/>
                <a:gd name="T15" fmla="*/ 138 h 138"/>
                <a:gd name="T16" fmla="*/ 41 w 41"/>
                <a:gd name="T17" fmla="*/ 138 h 138"/>
                <a:gd name="T18" fmla="*/ 41 w 41"/>
                <a:gd name="T19" fmla="*/ 135 h 138"/>
                <a:gd name="T20" fmla="*/ 31 w 41"/>
                <a:gd name="T21" fmla="*/ 126 h 138"/>
                <a:gd name="T22" fmla="*/ 31 w 41"/>
                <a:gd name="T23" fmla="*/ 12 h 138"/>
                <a:gd name="T24" fmla="*/ 41 w 41"/>
                <a:gd name="T25" fmla="*/ 3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41" y="3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4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7" name="Freeform 13"/>
            <p:cNvSpPr>
              <a:spLocks/>
            </p:cNvSpPr>
            <p:nvPr/>
          </p:nvSpPr>
          <p:spPr bwMode="auto">
            <a:xfrm>
              <a:off x="3690" y="1454"/>
              <a:ext cx="97" cy="326"/>
            </a:xfrm>
            <a:custGeom>
              <a:avLst/>
              <a:gdLst>
                <a:gd name="T0" fmla="*/ 31 w 41"/>
                <a:gd name="T1" fmla="*/ 126 h 138"/>
                <a:gd name="T2" fmla="*/ 31 w 41"/>
                <a:gd name="T3" fmla="*/ 12 h 138"/>
                <a:gd name="T4" fmla="*/ 41 w 41"/>
                <a:gd name="T5" fmla="*/ 3 h 138"/>
                <a:gd name="T6" fmla="*/ 41 w 41"/>
                <a:gd name="T7" fmla="*/ 0 h 138"/>
                <a:gd name="T8" fmla="*/ 0 w 41"/>
                <a:gd name="T9" fmla="*/ 0 h 138"/>
                <a:gd name="T10" fmla="*/ 0 w 41"/>
                <a:gd name="T11" fmla="*/ 3 h 138"/>
                <a:gd name="T12" fmla="*/ 11 w 41"/>
                <a:gd name="T13" fmla="*/ 12 h 138"/>
                <a:gd name="T14" fmla="*/ 11 w 41"/>
                <a:gd name="T15" fmla="*/ 126 h 138"/>
                <a:gd name="T16" fmla="*/ 0 w 41"/>
                <a:gd name="T17" fmla="*/ 135 h 138"/>
                <a:gd name="T18" fmla="*/ 0 w 41"/>
                <a:gd name="T19" fmla="*/ 138 h 138"/>
                <a:gd name="T20" fmla="*/ 41 w 41"/>
                <a:gd name="T21" fmla="*/ 138 h 138"/>
                <a:gd name="T22" fmla="*/ 41 w 41"/>
                <a:gd name="T23" fmla="*/ 135 h 138"/>
                <a:gd name="T24" fmla="*/ 31 w 41"/>
                <a:gd name="T25" fmla="*/ 12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138">
                  <a:moveTo>
                    <a:pt x="31" y="126"/>
                  </a:moveTo>
                  <a:cubicBezTo>
                    <a:pt x="31" y="12"/>
                    <a:pt x="31" y="12"/>
                    <a:pt x="31" y="12"/>
                  </a:cubicBezTo>
                  <a:cubicBezTo>
                    <a:pt x="31" y="3"/>
                    <a:pt x="38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11" y="3"/>
                    <a:pt x="11" y="12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35"/>
                    <a:pt x="3" y="135"/>
                    <a:pt x="0" y="135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41" y="138"/>
                    <a:pt x="41" y="138"/>
                    <a:pt x="41" y="138"/>
                  </a:cubicBezTo>
                  <a:cubicBezTo>
                    <a:pt x="41" y="135"/>
                    <a:pt x="41" y="135"/>
                    <a:pt x="41" y="135"/>
                  </a:cubicBezTo>
                  <a:cubicBezTo>
                    <a:pt x="38" y="135"/>
                    <a:pt x="31" y="135"/>
                    <a:pt x="31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8" name="Freeform 14"/>
            <p:cNvSpPr>
              <a:spLocks/>
            </p:cNvSpPr>
            <p:nvPr/>
          </p:nvSpPr>
          <p:spPr bwMode="auto">
            <a:xfrm>
              <a:off x="3430" y="1447"/>
              <a:ext cx="225" cy="340"/>
            </a:xfrm>
            <a:custGeom>
              <a:avLst/>
              <a:gdLst>
                <a:gd name="T0" fmla="*/ 50 w 95"/>
                <a:gd name="T1" fmla="*/ 60 h 144"/>
                <a:gd name="T2" fmla="*/ 15 w 95"/>
                <a:gd name="T3" fmla="*/ 36 h 144"/>
                <a:gd name="T4" fmla="*/ 51 w 95"/>
                <a:gd name="T5" fmla="*/ 8 h 144"/>
                <a:gd name="T6" fmla="*/ 85 w 95"/>
                <a:gd name="T7" fmla="*/ 37 h 144"/>
                <a:gd name="T8" fmla="*/ 89 w 95"/>
                <a:gd name="T9" fmla="*/ 37 h 144"/>
                <a:gd name="T10" fmla="*/ 88 w 95"/>
                <a:gd name="T11" fmla="*/ 7 h 144"/>
                <a:gd name="T12" fmla="*/ 54 w 95"/>
                <a:gd name="T13" fmla="*/ 0 h 144"/>
                <a:gd name="T14" fmla="*/ 0 w 95"/>
                <a:gd name="T15" fmla="*/ 40 h 144"/>
                <a:gd name="T16" fmla="*/ 54 w 95"/>
                <a:gd name="T17" fmla="*/ 80 h 144"/>
                <a:gd name="T18" fmla="*/ 80 w 95"/>
                <a:gd name="T19" fmla="*/ 105 h 144"/>
                <a:gd name="T20" fmla="*/ 46 w 95"/>
                <a:gd name="T21" fmla="*/ 136 h 144"/>
                <a:gd name="T22" fmla="*/ 5 w 95"/>
                <a:gd name="T23" fmla="*/ 100 h 144"/>
                <a:gd name="T24" fmla="*/ 2 w 95"/>
                <a:gd name="T25" fmla="*/ 100 h 144"/>
                <a:gd name="T26" fmla="*/ 3 w 95"/>
                <a:gd name="T27" fmla="*/ 133 h 144"/>
                <a:gd name="T28" fmla="*/ 40 w 95"/>
                <a:gd name="T29" fmla="*/ 144 h 144"/>
                <a:gd name="T30" fmla="*/ 95 w 95"/>
                <a:gd name="T31" fmla="*/ 100 h 144"/>
                <a:gd name="T32" fmla="*/ 50 w 95"/>
                <a:gd name="T33" fmla="*/ 6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144">
                  <a:moveTo>
                    <a:pt x="50" y="60"/>
                  </a:moveTo>
                  <a:cubicBezTo>
                    <a:pt x="25" y="55"/>
                    <a:pt x="15" y="52"/>
                    <a:pt x="15" y="36"/>
                  </a:cubicBezTo>
                  <a:cubicBezTo>
                    <a:pt x="15" y="20"/>
                    <a:pt x="28" y="8"/>
                    <a:pt x="51" y="8"/>
                  </a:cubicBezTo>
                  <a:cubicBezTo>
                    <a:pt x="66" y="8"/>
                    <a:pt x="83" y="19"/>
                    <a:pt x="85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79" y="3"/>
                    <a:pt x="62" y="0"/>
                    <a:pt x="54" y="0"/>
                  </a:cubicBezTo>
                  <a:cubicBezTo>
                    <a:pt x="21" y="0"/>
                    <a:pt x="0" y="19"/>
                    <a:pt x="0" y="40"/>
                  </a:cubicBezTo>
                  <a:cubicBezTo>
                    <a:pt x="0" y="66"/>
                    <a:pt x="19" y="73"/>
                    <a:pt x="54" y="80"/>
                  </a:cubicBezTo>
                  <a:cubicBezTo>
                    <a:pt x="68" y="83"/>
                    <a:pt x="80" y="88"/>
                    <a:pt x="80" y="105"/>
                  </a:cubicBezTo>
                  <a:cubicBezTo>
                    <a:pt x="80" y="127"/>
                    <a:pt x="61" y="136"/>
                    <a:pt x="46" y="136"/>
                  </a:cubicBezTo>
                  <a:cubicBezTo>
                    <a:pt x="24" y="136"/>
                    <a:pt x="10" y="121"/>
                    <a:pt x="5" y="10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3" y="133"/>
                    <a:pt x="3" y="133"/>
                    <a:pt x="3" y="133"/>
                  </a:cubicBezTo>
                  <a:cubicBezTo>
                    <a:pt x="15" y="141"/>
                    <a:pt x="27" y="144"/>
                    <a:pt x="40" y="144"/>
                  </a:cubicBezTo>
                  <a:cubicBezTo>
                    <a:pt x="78" y="144"/>
                    <a:pt x="95" y="123"/>
                    <a:pt x="95" y="100"/>
                  </a:cubicBezTo>
                  <a:cubicBezTo>
                    <a:pt x="95" y="71"/>
                    <a:pt x="76" y="66"/>
                    <a:pt x="50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  <p:sp>
          <p:nvSpPr>
            <p:cNvPr id="89" name="Freeform 15"/>
            <p:cNvSpPr>
              <a:spLocks/>
            </p:cNvSpPr>
            <p:nvPr/>
          </p:nvSpPr>
          <p:spPr bwMode="auto">
            <a:xfrm>
              <a:off x="3137" y="1454"/>
              <a:ext cx="296" cy="330"/>
            </a:xfrm>
            <a:custGeom>
              <a:avLst/>
              <a:gdLst>
                <a:gd name="T0" fmla="*/ 125 w 125"/>
                <a:gd name="T1" fmla="*/ 0 h 140"/>
                <a:gd name="T2" fmla="*/ 89 w 125"/>
                <a:gd name="T3" fmla="*/ 0 h 140"/>
                <a:gd name="T4" fmla="*/ 89 w 125"/>
                <a:gd name="T5" fmla="*/ 3 h 140"/>
                <a:gd name="T6" fmla="*/ 100 w 125"/>
                <a:gd name="T7" fmla="*/ 21 h 140"/>
                <a:gd name="T8" fmla="*/ 67 w 125"/>
                <a:gd name="T9" fmla="*/ 119 h 140"/>
                <a:gd name="T10" fmla="*/ 67 w 125"/>
                <a:gd name="T11" fmla="*/ 119 h 140"/>
                <a:gd name="T12" fmla="*/ 33 w 125"/>
                <a:gd name="T13" fmla="*/ 18 h 140"/>
                <a:gd name="T14" fmla="*/ 31 w 125"/>
                <a:gd name="T15" fmla="*/ 9 h 140"/>
                <a:gd name="T16" fmla="*/ 41 w 125"/>
                <a:gd name="T17" fmla="*/ 3 h 140"/>
                <a:gd name="T18" fmla="*/ 41 w 125"/>
                <a:gd name="T19" fmla="*/ 0 h 140"/>
                <a:gd name="T20" fmla="*/ 0 w 125"/>
                <a:gd name="T21" fmla="*/ 0 h 140"/>
                <a:gd name="T22" fmla="*/ 0 w 125"/>
                <a:gd name="T23" fmla="*/ 3 h 140"/>
                <a:gd name="T24" fmla="*/ 12 w 125"/>
                <a:gd name="T25" fmla="*/ 12 h 140"/>
                <a:gd name="T26" fmla="*/ 56 w 125"/>
                <a:gd name="T27" fmla="*/ 140 h 140"/>
                <a:gd name="T28" fmla="*/ 69 w 125"/>
                <a:gd name="T29" fmla="*/ 140 h 140"/>
                <a:gd name="T30" fmla="*/ 110 w 125"/>
                <a:gd name="T31" fmla="*/ 14 h 140"/>
                <a:gd name="T32" fmla="*/ 125 w 125"/>
                <a:gd name="T33" fmla="*/ 3 h 140"/>
                <a:gd name="T34" fmla="*/ 125 w 125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40">
                  <a:moveTo>
                    <a:pt x="125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106" y="3"/>
                    <a:pt x="102" y="14"/>
                    <a:pt x="100" y="21"/>
                  </a:cubicBezTo>
                  <a:cubicBezTo>
                    <a:pt x="95" y="36"/>
                    <a:pt x="67" y="119"/>
                    <a:pt x="67" y="119"/>
                  </a:cubicBezTo>
                  <a:cubicBezTo>
                    <a:pt x="67" y="119"/>
                    <a:pt x="67" y="119"/>
                    <a:pt x="67" y="1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2" y="16"/>
                    <a:pt x="31" y="11"/>
                    <a:pt x="31" y="9"/>
                  </a:cubicBezTo>
                  <a:cubicBezTo>
                    <a:pt x="31" y="5"/>
                    <a:pt x="34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3"/>
                    <a:pt x="10" y="8"/>
                    <a:pt x="12" y="12"/>
                  </a:cubicBezTo>
                  <a:cubicBezTo>
                    <a:pt x="56" y="140"/>
                    <a:pt x="56" y="140"/>
                    <a:pt x="56" y="140"/>
                  </a:cubicBezTo>
                  <a:cubicBezTo>
                    <a:pt x="69" y="140"/>
                    <a:pt x="69" y="140"/>
                    <a:pt x="69" y="140"/>
                  </a:cubicBezTo>
                  <a:cubicBezTo>
                    <a:pt x="69" y="140"/>
                    <a:pt x="107" y="24"/>
                    <a:pt x="110" y="14"/>
                  </a:cubicBezTo>
                  <a:cubicBezTo>
                    <a:pt x="113" y="5"/>
                    <a:pt x="118" y="3"/>
                    <a:pt x="125" y="3"/>
                  </a:cubicBez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GB" sz="3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37700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  <p:sldLayoutId id="2147483686" r:id="rId3"/>
    <p:sldLayoutId id="2147483661" r:id="rId4"/>
    <p:sldLayoutId id="2147483687" r:id="rId5"/>
    <p:sldLayoutId id="2147483662" r:id="rId6"/>
    <p:sldLayoutId id="2147483663" r:id="rId7"/>
    <p:sldLayoutId id="2147483684" r:id="rId8"/>
    <p:sldLayoutId id="2147483689" r:id="rId9"/>
    <p:sldLayoutId id="2147483664" r:id="rId10"/>
    <p:sldLayoutId id="2147483665" r:id="rId11"/>
    <p:sldLayoutId id="2147483666" r:id="rId12"/>
    <p:sldLayoutId id="2147483660" r:id="rId13"/>
    <p:sldLayoutId id="2147483675" r:id="rId14"/>
    <p:sldLayoutId id="2147483667" r:id="rId15"/>
    <p:sldLayoutId id="2147483668" r:id="rId16"/>
    <p:sldLayoutId id="2147483652" r:id="rId17"/>
    <p:sldLayoutId id="2147483669" r:id="rId18"/>
    <p:sldLayoutId id="2147483681" r:id="rId19"/>
    <p:sldLayoutId id="2147483670" r:id="rId20"/>
    <p:sldLayoutId id="2147483671" r:id="rId21"/>
    <p:sldLayoutId id="2147483672" r:id="rId22"/>
    <p:sldLayoutId id="2147483682" r:id="rId23"/>
    <p:sldLayoutId id="2147483673" r:id="rId24"/>
    <p:sldLayoutId id="2147483679" r:id="rId25"/>
    <p:sldLayoutId id="2147483680" r:id="rId26"/>
    <p:sldLayoutId id="2147483674" r:id="rId27"/>
    <p:sldLayoutId id="2147483676" r:id="rId28"/>
    <p:sldLayoutId id="2147483678" r:id="rId29"/>
    <p:sldLayoutId id="2147483677" r:id="rId30"/>
    <p:sldLayoutId id="2147483654" r:id="rId31"/>
    <p:sldLayoutId id="2147483683" r:id="rId32"/>
    <p:sldLayoutId id="2147483655" r:id="rId33"/>
  </p:sldLayoutIdLst>
  <p:hf sldNum="0" hdr="0" dt="0"/>
  <p:txStyles>
    <p:titleStyle>
      <a:lvl1pPr algn="l" defTabSz="1088850" rtl="0" eaLnBrk="1" latinLnBrk="0" hangingPunct="1">
        <a:spcBef>
          <a:spcPct val="0"/>
        </a:spcBef>
        <a:buNone/>
        <a:defRPr sz="1999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82" indent="-179982" algn="l" defTabSz="108885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65" indent="-179982" algn="l" defTabSz="108885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697" indent="-179982" algn="l" defTabSz="108885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28" indent="-179982" algn="l" defTabSz="108885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10" indent="-179982" algn="l" defTabSz="108885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336" indent="-272213" algn="l" defTabSz="10888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762" indent="-272213" algn="l" defTabSz="10888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3186" indent="-272213" algn="l" defTabSz="10888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612" indent="-272213" algn="l" defTabSz="10888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425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850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3273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7699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2123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6550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10973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5399" algn="l" defTabSz="1088850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1622458" y="2262090"/>
            <a:ext cx="8929689" cy="1292662"/>
          </a:xfrm>
        </p:spPr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An Examination of Social Protection Coverage Across Programs in Latin America Using Indicator 1.3.1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6212" y="4380578"/>
            <a:ext cx="8929688" cy="307777"/>
          </a:xfrm>
        </p:spPr>
        <p:txBody>
          <a:bodyPr/>
          <a:lstStyle/>
          <a:p>
            <a:r>
              <a:rPr lang="en-US" dirty="0"/>
              <a:t>By Ahmad </a:t>
            </a:r>
            <a:r>
              <a:rPr lang="en-US" dirty="0" err="1"/>
              <a:t>Tipu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3503221" y="2098963"/>
            <a:ext cx="548640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574473" y="3715001"/>
            <a:ext cx="5486400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5070764" y="6222670"/>
            <a:ext cx="2280062" cy="415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307648"/>
          </a:xfrm>
        </p:spPr>
        <p:txBody>
          <a:bodyPr/>
          <a:lstStyle/>
          <a:p>
            <a:r>
              <a:rPr lang="en-US" dirty="0"/>
              <a:t>Methodology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I used the </a:t>
            </a:r>
            <a:r>
              <a:rPr lang="en-US" b="1" dirty="0"/>
              <a:t>United Nations’ Economic Commission for Latin America and the Caribbean’s database of  Non-contributory Social Protection Programs</a:t>
            </a:r>
            <a:r>
              <a:rPr lang="en-US" dirty="0"/>
              <a:t> and its program profiles. </a:t>
            </a:r>
          </a:p>
          <a:p>
            <a:pPr lvl="3">
              <a:lnSpc>
                <a:spcPct val="150000"/>
              </a:lnSpc>
            </a:pPr>
            <a:r>
              <a:rPr lang="en-US" dirty="0"/>
              <a:t>Brazil’s </a:t>
            </a:r>
            <a:r>
              <a:rPr lang="en-US" dirty="0" err="1"/>
              <a:t>Bolsa</a:t>
            </a:r>
            <a:r>
              <a:rPr lang="en-US" dirty="0"/>
              <a:t> </a:t>
            </a:r>
            <a:r>
              <a:rPr lang="en-US" dirty="0" err="1"/>
              <a:t>Familia</a:t>
            </a:r>
            <a:r>
              <a:rPr lang="en-US" dirty="0"/>
              <a:t>, Mexico’s </a:t>
            </a:r>
            <a:r>
              <a:rPr lang="en-US" dirty="0" err="1"/>
              <a:t>Oportunidades</a:t>
            </a:r>
            <a:r>
              <a:rPr lang="en-US" dirty="0"/>
              <a:t>/</a:t>
            </a:r>
            <a:r>
              <a:rPr lang="en-US" dirty="0" err="1"/>
              <a:t>Progresa</a:t>
            </a:r>
            <a:r>
              <a:rPr lang="en-US" dirty="0"/>
              <a:t>, Argentina’s </a:t>
            </a:r>
            <a:r>
              <a:rPr lang="en-US" dirty="0" err="1"/>
              <a:t>Jefas</a:t>
            </a:r>
            <a:r>
              <a:rPr lang="en-US" dirty="0"/>
              <a:t> y </a:t>
            </a:r>
            <a:r>
              <a:rPr lang="en-US" dirty="0" err="1"/>
              <a:t>Jefes</a:t>
            </a:r>
            <a:r>
              <a:rPr lang="en-US" dirty="0"/>
              <a:t>, Chile’s </a:t>
            </a:r>
            <a:r>
              <a:rPr lang="en-US" dirty="0" err="1"/>
              <a:t>Solidario</a:t>
            </a:r>
            <a:r>
              <a:rPr lang="en-US" dirty="0"/>
              <a:t>, and Panama’s Red de </a:t>
            </a:r>
            <a:r>
              <a:rPr lang="en-US" dirty="0" err="1"/>
              <a:t>Oportunidades</a:t>
            </a:r>
            <a:r>
              <a:rPr lang="en-US" dirty="0"/>
              <a:t>.</a:t>
            </a:r>
          </a:p>
          <a:p>
            <a:pPr lvl="3">
              <a:lnSpc>
                <a:spcPct val="150000"/>
              </a:lnSpc>
            </a:pPr>
            <a:r>
              <a:rPr lang="en-US" dirty="0"/>
              <a:t>Contains two variables most relevant to my research, </a:t>
            </a:r>
            <a:r>
              <a:rPr lang="en-US" b="1" dirty="0"/>
              <a:t>percent coverage of population expected to be eligible </a:t>
            </a:r>
            <a:r>
              <a:rPr lang="en-US" dirty="0"/>
              <a:t>for each program and </a:t>
            </a:r>
            <a:r>
              <a:rPr lang="en-US" b="1" dirty="0"/>
              <a:t>percent coverage of those actually eligible</a:t>
            </a:r>
            <a:r>
              <a:rPr lang="en-US" dirty="0"/>
              <a:t>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I also </a:t>
            </a:r>
            <a:r>
              <a:rPr lang="en-US" b="1" dirty="0"/>
              <a:t>used the World Bank’s Atlas of Social Protection Indicators of Resilience and Equity </a:t>
            </a:r>
            <a:r>
              <a:rPr lang="en-US" dirty="0"/>
              <a:t>database which collects data on social protection indicators from international household surveys</a:t>
            </a:r>
            <a:endParaRPr lang="en-US" b="1" dirty="0"/>
          </a:p>
          <a:p>
            <a:pPr lvl="3">
              <a:lnSpc>
                <a:spcPct val="150000"/>
              </a:lnSpc>
            </a:pPr>
            <a:r>
              <a:rPr lang="en-US" dirty="0"/>
              <a:t>The variable of interest to me in this database is </a:t>
            </a:r>
            <a:r>
              <a:rPr lang="en-US" b="1" dirty="0"/>
              <a:t>coverage in extreme poor (&lt;$1.90 PPP a day) (%) - All Social Assistance</a:t>
            </a:r>
            <a:r>
              <a:rPr lang="en-US" dirty="0"/>
              <a:t>. </a:t>
            </a:r>
          </a:p>
          <a:p>
            <a:pPr lvl="1">
              <a:lnSpc>
                <a:spcPct val="150000"/>
              </a:lnSpc>
            </a:pPr>
            <a:r>
              <a:rPr lang="en-US" dirty="0"/>
              <a:t>The main measure I used is </a:t>
            </a:r>
            <a:r>
              <a:rPr lang="en-US" b="1" dirty="0"/>
              <a:t>average change in percentage over time </a:t>
            </a:r>
            <a:r>
              <a:rPr lang="en-US" dirty="0"/>
              <a:t>which will indicate the general trend in coverage for each program or nation being examined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307648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2605856"/>
              </p:ext>
            </p:extLst>
          </p:nvPr>
        </p:nvGraphicFramePr>
        <p:xfrm>
          <a:off x="559553" y="1780543"/>
          <a:ext cx="11079243" cy="1114574"/>
        </p:xfrm>
        <a:graphic>
          <a:graphicData uri="http://schemas.openxmlformats.org/drawingml/2006/table">
            <a:tbl>
              <a:tblPr/>
              <a:tblGrid>
                <a:gridCol w="5911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1239791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</a:tblGrid>
              <a:tr h="304800">
                <a:tc gridSpan="17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(%) of Eligible Population -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Solidario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, Chile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2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3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4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5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9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0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1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2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3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4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5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6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7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866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.2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.6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.0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.4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.7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.7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.9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.1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1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3.4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.9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.5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.1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0.1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50177" name="Rectangle 1"/>
          <p:cNvSpPr>
            <a:spLocks noChangeArrowheads="1"/>
          </p:cNvSpPr>
          <p:nvPr/>
        </p:nvSpPr>
        <p:spPr bwMode="auto">
          <a:xfrm>
            <a:off x="0" y="0"/>
            <a:ext cx="12198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5714683"/>
              </p:ext>
            </p:extLst>
          </p:nvPr>
        </p:nvGraphicFramePr>
        <p:xfrm>
          <a:off x="1485427" y="3962883"/>
          <a:ext cx="9227493" cy="912370"/>
        </p:xfrm>
        <a:graphic>
          <a:graphicData uri="http://schemas.openxmlformats.org/drawingml/2006/table">
            <a:tbl>
              <a:tblPr/>
              <a:tblGrid>
                <a:gridCol w="5911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7640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9118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1510338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326472">
                <a:tc gridSpan="13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(%) of Expected to Qualify - Red de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Oportunidade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, Panama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64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9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0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1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2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3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4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5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6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7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94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.8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.2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2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2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4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1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8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6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6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.9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.8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.2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.6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307648"/>
          </a:xfrm>
        </p:spPr>
        <p:txBody>
          <a:bodyPr/>
          <a:lstStyle/>
          <a:p>
            <a:r>
              <a:rPr lang="en-US" dirty="0"/>
              <a:t>DATA CONTINUED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4325677"/>
              </p:ext>
            </p:extLst>
          </p:nvPr>
        </p:nvGraphicFramePr>
        <p:xfrm>
          <a:off x="145295" y="1530223"/>
          <a:ext cx="11907750" cy="1166672"/>
        </p:xfrm>
        <a:graphic>
          <a:graphicData uri="http://schemas.openxmlformats.org/drawingml/2006/table">
            <a:tbl>
              <a:tblPr/>
              <a:tblGrid>
                <a:gridCol w="5911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68961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972415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</a:tblGrid>
              <a:tr h="306556">
                <a:tc gridSpan="16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(%) of Population Expected to Qualify -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Bolsa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Familia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, Brazil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US" sz="14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90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3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4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5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9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0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1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2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3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4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5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6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7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8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900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5.2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.9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7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7.9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7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7.1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6.1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6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6.5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.2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9153" name="Rectangle 1"/>
          <p:cNvSpPr>
            <a:spLocks noChangeArrowheads="1"/>
          </p:cNvSpPr>
          <p:nvPr/>
        </p:nvSpPr>
        <p:spPr bwMode="auto">
          <a:xfrm>
            <a:off x="0" y="0"/>
            <a:ext cx="12198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455010"/>
              </p:ext>
            </p:extLst>
          </p:nvPr>
        </p:nvGraphicFramePr>
        <p:xfrm>
          <a:off x="593848" y="3189000"/>
          <a:ext cx="11010645" cy="1108841"/>
        </p:xfrm>
        <a:graphic>
          <a:graphicData uri="http://schemas.openxmlformats.org/drawingml/2006/table">
            <a:tbl>
              <a:tblPr/>
              <a:tblGrid>
                <a:gridCol w="49276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27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529273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570548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529273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978907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</a:tblGrid>
              <a:tr h="335857">
                <a:tc gridSpan="18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(%) of Population Expected to Qualify -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Oportunidade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Progresa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, Mexico</a:t>
                      </a:r>
                      <a:endParaRPr lang="en-US" sz="20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n-US" sz="120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30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97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98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99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0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1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2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3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4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5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9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0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1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2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3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4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284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.5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.0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.4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1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5.0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.2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.9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3.2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9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6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4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5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.5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3.6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8%</a:t>
                      </a:r>
                      <a:endParaRPr lang="en-US" sz="10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3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.4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.3%</a:t>
                      </a:r>
                      <a:endParaRPr lang="en-US" sz="18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9154" name="Rectangle 2"/>
          <p:cNvSpPr>
            <a:spLocks noChangeArrowheads="1"/>
          </p:cNvSpPr>
          <p:nvPr/>
        </p:nvSpPr>
        <p:spPr bwMode="auto">
          <a:xfrm>
            <a:off x="0" y="0"/>
            <a:ext cx="121983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965729"/>
              </p:ext>
            </p:extLst>
          </p:nvPr>
        </p:nvGraphicFramePr>
        <p:xfrm>
          <a:off x="3018572" y="4973156"/>
          <a:ext cx="6161199" cy="1001877"/>
        </p:xfrm>
        <a:graphic>
          <a:graphicData uri="http://schemas.openxmlformats.org/drawingml/2006/table">
            <a:tbl>
              <a:tblPr/>
              <a:tblGrid>
                <a:gridCol w="6102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02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102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102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1023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2609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2609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05783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33959">
                <a:tc gridSpan="8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(%) of Eligible Population -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Jefa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y </a:t>
                      </a:r>
                      <a:r>
                        <a:rPr lang="en-US" sz="1600" dirty="0" err="1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Jefe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, Argentina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39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2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3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4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5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39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.0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2.3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.4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7.1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3.4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.4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.5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3.1%</a:t>
                      </a:r>
                      <a:endParaRPr lang="en-US" sz="12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615297"/>
          </a:xfrm>
        </p:spPr>
        <p:txBody>
          <a:bodyPr/>
          <a:lstStyle/>
          <a:p>
            <a:r>
              <a:rPr lang="en-US" dirty="0"/>
              <a:t>DATA CONTINUED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638679"/>
              </p:ext>
            </p:extLst>
          </p:nvPr>
        </p:nvGraphicFramePr>
        <p:xfrm>
          <a:off x="519289" y="1567266"/>
          <a:ext cx="11345611" cy="3931921"/>
        </p:xfrm>
        <a:graphic>
          <a:graphicData uri="http://schemas.openxmlformats.org/drawingml/2006/table">
            <a:tbl>
              <a:tblPr/>
              <a:tblGrid>
                <a:gridCol w="13635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132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64228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149069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561703">
                <a:tc gridSpan="11">
                  <a:txBody>
                    <a:bodyPr/>
                    <a:lstStyle/>
                    <a:p>
                      <a:pPr marL="0" marR="0"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overage in extreme poor (&lt;$1.90 PPP a day) (%) - All Social Assistance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US" sz="110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6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7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8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9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0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1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2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3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4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15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3F3F3F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verage change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F3F3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61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Brazil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1.3%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1.2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9.8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7.7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5.3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+6.0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61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Mexico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7.0%</a:t>
                      </a:r>
                      <a:endParaRPr lang="en-US" sz="16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4.0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5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6.0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6.4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14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61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Argentina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3.3%</a:t>
                      </a:r>
                      <a:endParaRPr lang="en-US" sz="16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1.3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7.6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9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1.2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61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Chile 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6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5.0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8.9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4.5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+9.8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617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61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Panama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6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5.9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5.4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9.2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3.4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6.7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4.4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1.7%</a:t>
                      </a:r>
                      <a:endParaRPr lang="en-US" sz="140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-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+1.0%</a:t>
                      </a:r>
                      <a:endParaRPr lang="en-US" sz="1400" dirty="0"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/>
              <a:t>Observa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/>
              <a:t>World Bank Atlas of Social Protection Dataset </a:t>
            </a:r>
            <a:r>
              <a:rPr lang="en-US" dirty="0"/>
              <a:t>– </a:t>
            </a:r>
            <a:r>
              <a:rPr lang="en-US" i="1" dirty="0"/>
              <a:t>Average Change in </a:t>
            </a:r>
            <a:r>
              <a:rPr lang="en-US" i="1" dirty="0">
                <a:solidFill>
                  <a:srgbClr val="000000"/>
                </a:solidFill>
                <a:ea typeface="Times New Roman"/>
                <a:cs typeface="Times New Roman"/>
              </a:rPr>
              <a:t>Coverage in extreme poor (&lt;$1.90 PPP a day)</a:t>
            </a:r>
            <a:r>
              <a:rPr lang="en-US" i="1" dirty="0"/>
              <a:t>  </a:t>
            </a:r>
          </a:p>
          <a:p>
            <a:pPr lvl="2" fontAlgn="b"/>
            <a:r>
              <a:rPr lang="en-US" dirty="0"/>
              <a:t>Brazil: +6.0% (2006-2013)</a:t>
            </a:r>
            <a:endParaRPr lang="en-US" sz="1200" dirty="0"/>
          </a:p>
          <a:p>
            <a:pPr lvl="2"/>
            <a:r>
              <a:rPr lang="en-US" dirty="0"/>
              <a:t>Mexico: -14.8% (2006-2015)</a:t>
            </a:r>
            <a:endParaRPr lang="en-US" sz="1200" dirty="0"/>
          </a:p>
          <a:p>
            <a:pPr lvl="2" fontAlgn="b"/>
            <a:r>
              <a:rPr lang="en-US" dirty="0"/>
              <a:t>Argentina: -1.2% (2006-2013)</a:t>
            </a:r>
            <a:endParaRPr lang="en-US" sz="1200" dirty="0"/>
          </a:p>
          <a:p>
            <a:pPr lvl="2" fontAlgn="b"/>
            <a:r>
              <a:rPr lang="en-US" dirty="0"/>
              <a:t>Chile: +9.8% (2008-2012)</a:t>
            </a:r>
            <a:endParaRPr lang="en-US" sz="1200" dirty="0"/>
          </a:p>
          <a:p>
            <a:pPr lvl="2" fontAlgn="b"/>
            <a:r>
              <a:rPr lang="en-US" dirty="0"/>
              <a:t>Panama: +1.0% </a:t>
            </a:r>
          </a:p>
          <a:p>
            <a:pPr lvl="2" fontAlgn="b">
              <a:buNone/>
            </a:pPr>
            <a:endParaRPr lang="en-US" dirty="0"/>
          </a:p>
          <a:p>
            <a:pPr fontAlgn="b"/>
            <a:r>
              <a:rPr lang="en-US" b="1" dirty="0"/>
              <a:t>United Nations’ Economic Commission for Latin America and the Caribbean </a:t>
            </a:r>
            <a:r>
              <a:rPr lang="en-US" dirty="0"/>
              <a:t>- </a:t>
            </a:r>
            <a:r>
              <a:rPr lang="en-US" i="1" dirty="0"/>
              <a:t>Percent Coverage of Those Expected to be Eligible/Actually Eligible</a:t>
            </a:r>
          </a:p>
          <a:p>
            <a:pPr lvl="2" fontAlgn="b"/>
            <a:r>
              <a:rPr lang="en-US" dirty="0"/>
              <a:t>Brazil’s </a:t>
            </a:r>
            <a:r>
              <a:rPr lang="en-US" dirty="0" err="1"/>
              <a:t>Bolsa</a:t>
            </a:r>
            <a:r>
              <a:rPr lang="en-US" dirty="0"/>
              <a:t> </a:t>
            </a:r>
            <a:r>
              <a:rPr lang="en-US" dirty="0" err="1"/>
              <a:t>Familia</a:t>
            </a:r>
            <a:r>
              <a:rPr lang="en-US" dirty="0"/>
              <a:t>: +1.2% (2003-2018)</a:t>
            </a:r>
            <a:endParaRPr lang="en-US" sz="1200" dirty="0"/>
          </a:p>
          <a:p>
            <a:pPr lvl="2"/>
            <a:r>
              <a:rPr lang="en-US" dirty="0"/>
              <a:t>Mexico’s </a:t>
            </a:r>
            <a:r>
              <a:rPr lang="en-US" dirty="0" err="1"/>
              <a:t>Oportunidades</a:t>
            </a:r>
            <a:r>
              <a:rPr lang="en-US" dirty="0"/>
              <a:t>/</a:t>
            </a:r>
            <a:r>
              <a:rPr lang="en-US" dirty="0" err="1"/>
              <a:t>Progresa</a:t>
            </a:r>
            <a:r>
              <a:rPr lang="en-US" dirty="0"/>
              <a:t>: +1.3% (1997-2014)</a:t>
            </a:r>
            <a:endParaRPr lang="en-US" sz="1200" dirty="0"/>
          </a:p>
          <a:p>
            <a:pPr lvl="2" fontAlgn="b"/>
            <a:r>
              <a:rPr lang="en-US" dirty="0"/>
              <a:t>Argentina’s </a:t>
            </a:r>
            <a:r>
              <a:rPr lang="en-US" dirty="0" err="1"/>
              <a:t>Jefas</a:t>
            </a:r>
            <a:r>
              <a:rPr lang="en-US" dirty="0"/>
              <a:t> Y </a:t>
            </a:r>
            <a:r>
              <a:rPr lang="en-US" dirty="0" err="1"/>
              <a:t>Jefes</a:t>
            </a:r>
            <a:r>
              <a:rPr lang="en-US" dirty="0"/>
              <a:t>: -1.3% (2002-2008)</a:t>
            </a:r>
            <a:endParaRPr lang="en-US" sz="1200" dirty="0"/>
          </a:p>
          <a:p>
            <a:pPr lvl="2" fontAlgn="b"/>
            <a:r>
              <a:rPr lang="en-US" dirty="0"/>
              <a:t>Chile’s </a:t>
            </a:r>
            <a:r>
              <a:rPr lang="en-US" dirty="0" err="1"/>
              <a:t>Solidario</a:t>
            </a:r>
            <a:r>
              <a:rPr lang="en-US" dirty="0"/>
              <a:t>: -0.1% (2002-2017)</a:t>
            </a:r>
            <a:endParaRPr lang="en-US" sz="1200" dirty="0"/>
          </a:p>
          <a:p>
            <a:pPr lvl="2" fontAlgn="b"/>
            <a:r>
              <a:rPr lang="en-US" dirty="0"/>
              <a:t>Panama’s Red de </a:t>
            </a:r>
            <a:r>
              <a:rPr lang="en-US" dirty="0" err="1"/>
              <a:t>Oportunidades</a:t>
            </a:r>
            <a:r>
              <a:rPr lang="en-US" dirty="0"/>
              <a:t>: +0.6% (2006-2017)</a:t>
            </a:r>
          </a:p>
          <a:p>
            <a:pPr lvl="2">
              <a:buNone/>
            </a:pPr>
            <a:endParaRPr lang="en-US" dirty="0"/>
          </a:p>
          <a:p>
            <a:pPr lvl="2">
              <a:buNone/>
            </a:pPr>
            <a:endParaRPr lang="en-US" dirty="0"/>
          </a:p>
        </p:txBody>
      </p:sp>
      <p:pic>
        <p:nvPicPr>
          <p:cNvPr id="51202" name="Picture 2" descr="https://www.uab.edu/institutionaleffectiveness/images/contact/research-analysis/ra-graphic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9343" y="708065"/>
            <a:ext cx="5743098" cy="5360226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50000" y="1627188"/>
            <a:ext cx="5367338" cy="4987368"/>
          </a:xfrm>
        </p:spPr>
        <p:txBody>
          <a:bodyPr/>
          <a:lstStyle/>
          <a:p>
            <a:r>
              <a:rPr lang="en-US" dirty="0"/>
              <a:t>Using </a:t>
            </a:r>
            <a:r>
              <a:rPr lang="en-US" b="1" dirty="0"/>
              <a:t>coverage is at best too rough a measure </a:t>
            </a:r>
            <a:r>
              <a:rPr lang="en-US" dirty="0"/>
              <a:t>to determine achievement of SDG1:</a:t>
            </a:r>
          </a:p>
          <a:p>
            <a:pPr lvl="2"/>
            <a:r>
              <a:rPr lang="en-US" dirty="0"/>
              <a:t>For many integrated anti-poverty programs their full impact is not covered by a measure relying on an older definition of poverty. </a:t>
            </a:r>
          </a:p>
          <a:p>
            <a:pPr lvl="2"/>
            <a:r>
              <a:rPr lang="en-US" dirty="0"/>
              <a:t>A full econometric analysis would do better in capturing the full range of social protection impact in alleviating poverty. </a:t>
            </a:r>
          </a:p>
          <a:p>
            <a:r>
              <a:rPr lang="en-US" dirty="0"/>
              <a:t>When looking at the changes in coverage by specific programs the </a:t>
            </a:r>
            <a:r>
              <a:rPr lang="en-US" b="1" dirty="0"/>
              <a:t>movement is minimal and does not offer enough to make a judgment</a:t>
            </a:r>
            <a:r>
              <a:rPr lang="en-US" dirty="0"/>
              <a:t> on. </a:t>
            </a:r>
          </a:p>
          <a:p>
            <a:pPr lvl="2"/>
            <a:r>
              <a:rPr lang="en-US" dirty="0"/>
              <a:t>There needs to be a universal level of coverage agreed upon and operationalized within the SDGs. </a:t>
            </a:r>
          </a:p>
          <a:p>
            <a:r>
              <a:rPr lang="en-US" dirty="0"/>
              <a:t>The range of disaggregation offered by Indicator 1.3.1 is not covered by the sparse data offered by the UN, World Bank, ILO and others</a:t>
            </a:r>
          </a:p>
          <a:p>
            <a:r>
              <a:rPr lang="en-US" dirty="0"/>
              <a:t>Many </a:t>
            </a:r>
            <a:r>
              <a:rPr lang="en-US" b="1" dirty="0"/>
              <a:t>member states use their own indicators, indexes, and surveys</a:t>
            </a:r>
            <a:r>
              <a:rPr lang="en-US" dirty="0"/>
              <a:t> rather than the World Bank defined less than $1.90 per day to define extreme  poverty.</a:t>
            </a:r>
          </a:p>
          <a:p>
            <a:pPr lvl="2"/>
            <a:r>
              <a:rPr lang="en-US" dirty="0"/>
              <a:t>There </a:t>
            </a:r>
            <a:r>
              <a:rPr lang="en-US" b="1" dirty="0"/>
              <a:t>needs to be a universally agreed upon line</a:t>
            </a:r>
            <a:r>
              <a:rPr lang="en-US" dirty="0"/>
              <a:t> by which to define extreme poverty in these programs. </a:t>
            </a:r>
          </a:p>
        </p:txBody>
      </p:sp>
      <p:pic>
        <p:nvPicPr>
          <p:cNvPr id="52226" name="Picture 2" descr="Image result for social safety ne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2791" y="964262"/>
            <a:ext cx="5620492" cy="4603526"/>
          </a:xfrm>
          <a:prstGeom prst="rect">
            <a:avLst/>
          </a:prstGeom>
          <a:noFill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56CB5EEF-FC32-4BE9-AA84-01CBB434B5F9}"/>
              </a:ext>
            </a:extLst>
          </p:cNvPr>
          <p:cNvSpPr/>
          <p:nvPr/>
        </p:nvSpPr>
        <p:spPr>
          <a:xfrm>
            <a:off x="10645422" y="6445956"/>
            <a:ext cx="1071916" cy="304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307648"/>
          </a:xfrm>
        </p:spPr>
        <p:txBody>
          <a:bodyPr/>
          <a:lstStyle/>
          <a:p>
            <a:r>
              <a:rPr lang="en-US" dirty="0"/>
              <a:t>SUSTAINABLE DEVELOPMENT GOALS</a:t>
            </a:r>
          </a:p>
        </p:txBody>
      </p:sp>
      <p:sp>
        <p:nvSpPr>
          <p:cNvPr id="5" name="Rectangle 4"/>
          <p:cNvSpPr/>
          <p:nvPr/>
        </p:nvSpPr>
        <p:spPr>
          <a:xfrm>
            <a:off x="10580914" y="6448301"/>
            <a:ext cx="1246909" cy="2493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5774B41-04B0-4719-9ED9-0A482167F8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699" b="5630"/>
          <a:stretch/>
        </p:blipFill>
        <p:spPr>
          <a:xfrm>
            <a:off x="1293283" y="1096049"/>
            <a:ext cx="9611784" cy="5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718887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600" y="439740"/>
            <a:ext cx="11234738" cy="307648"/>
          </a:xfrm>
        </p:spPr>
        <p:txBody>
          <a:bodyPr/>
          <a:lstStyle/>
          <a:p>
            <a:r>
              <a:rPr lang="en-US" dirty="0"/>
              <a:t>FRAMEWORK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/>
        </p:nvGraphicFramePr>
        <p:xfrm>
          <a:off x="1799112" y="162395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/>
          <p:cNvSpPr/>
          <p:nvPr/>
        </p:nvSpPr>
        <p:spPr>
          <a:xfrm>
            <a:off x="10580914" y="6448301"/>
            <a:ext cx="1246909" cy="2493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/>
              <a:t>Social Protection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800" dirty="0">
                <a:latin typeface="Arial" pitchFamily="34" charset="0"/>
                <a:cs typeface="Arial" pitchFamily="34" charset="0"/>
              </a:rPr>
              <a:t>A set of measures in the social sphere, which allows substantial contributions to the generation of frameworks of equality, by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reducing the gaps in inequality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 and the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eradication of poverty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and social exclusion</a:t>
            </a:r>
          </a:p>
          <a:p>
            <a:endParaRPr lang="en-US" dirty="0"/>
          </a:p>
        </p:txBody>
      </p:sp>
      <p:pic>
        <p:nvPicPr>
          <p:cNvPr id="7" name="Picture 6" descr="thumb-dynamic-social-protec.jpg"/>
          <p:cNvPicPr>
            <a:picLocks noChangeAspect="1"/>
          </p:cNvPicPr>
          <p:nvPr/>
        </p:nvPicPr>
        <p:blipFill>
          <a:blip r:embed="rId2"/>
          <a:srcRect l="12807" r="41558"/>
          <a:stretch>
            <a:fillRect/>
          </a:stretch>
        </p:blipFill>
        <p:spPr>
          <a:xfrm>
            <a:off x="0" y="0"/>
            <a:ext cx="6008914" cy="641267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0652166" y="6388925"/>
            <a:ext cx="1175657" cy="4706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 err="1"/>
              <a:t>Bolsa</a:t>
            </a:r>
            <a:r>
              <a:rPr lang="en-US" dirty="0"/>
              <a:t> </a:t>
            </a:r>
            <a:r>
              <a:rPr lang="en-US" dirty="0" err="1"/>
              <a:t>Familia</a:t>
            </a:r>
            <a:r>
              <a:rPr lang="en-US" dirty="0"/>
              <a:t> </a:t>
            </a:r>
          </a:p>
        </p:txBody>
      </p:sp>
      <p:pic>
        <p:nvPicPr>
          <p:cNvPr id="5" name="Picture Placeholder 4" descr="´pp´i´.jpg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21521" r="21521"/>
          <a:stretch>
            <a:fillRect/>
          </a:stretch>
        </p:blipFill>
        <p:spPr>
          <a:xfrm>
            <a:off x="2" y="0"/>
            <a:ext cx="5864225" cy="6513689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ntry: Brazil </a:t>
            </a:r>
          </a:p>
          <a:p>
            <a:r>
              <a:rPr lang="en-US" dirty="0"/>
              <a:t>Target Population: Families in Poverty and Extreme Poverty below national poverty line. </a:t>
            </a:r>
          </a:p>
          <a:p>
            <a:r>
              <a:rPr lang="en-US" dirty="0"/>
              <a:t>Combines four prior programs:</a:t>
            </a:r>
          </a:p>
          <a:p>
            <a:pPr lvl="2"/>
            <a:r>
              <a:rPr lang="en-US" b="1" dirty="0" err="1"/>
              <a:t>Bolsa</a:t>
            </a:r>
            <a:r>
              <a:rPr lang="en-US" b="1" dirty="0"/>
              <a:t> </a:t>
            </a:r>
            <a:r>
              <a:rPr lang="en-US" b="1" dirty="0" err="1"/>
              <a:t>Escola</a:t>
            </a:r>
            <a:r>
              <a:rPr lang="en-US" b="1" dirty="0"/>
              <a:t> </a:t>
            </a:r>
            <a:r>
              <a:rPr lang="en-US" dirty="0"/>
              <a:t>is a program targeting education which provides cash grants to those with school-age children</a:t>
            </a:r>
          </a:p>
          <a:p>
            <a:pPr lvl="2"/>
            <a:r>
              <a:rPr lang="en-US" b="1" dirty="0" err="1"/>
              <a:t>Bolsa</a:t>
            </a:r>
            <a:r>
              <a:rPr lang="en-US" b="1" dirty="0"/>
              <a:t> </a:t>
            </a:r>
            <a:r>
              <a:rPr lang="en-US" b="1" dirty="0" err="1"/>
              <a:t>Alimentacao</a:t>
            </a:r>
            <a:r>
              <a:rPr lang="en-US" b="1" dirty="0"/>
              <a:t> </a:t>
            </a:r>
            <a:r>
              <a:rPr lang="en-US" dirty="0"/>
              <a:t>aims to deal with maternal nutrition and gives cash assistance to pregnant or lactating women. </a:t>
            </a:r>
          </a:p>
          <a:p>
            <a:pPr lvl="2"/>
            <a:r>
              <a:rPr lang="en-US" b="1" dirty="0" err="1"/>
              <a:t>Auxilio</a:t>
            </a:r>
            <a:r>
              <a:rPr lang="en-US" b="1" dirty="0"/>
              <a:t> Gas </a:t>
            </a:r>
            <a:r>
              <a:rPr lang="en-US" dirty="0"/>
              <a:t>is a cooking gas subsidy. </a:t>
            </a:r>
          </a:p>
          <a:p>
            <a:pPr lvl="2"/>
            <a:r>
              <a:rPr lang="en-US" b="1" dirty="0" err="1"/>
              <a:t>Cartao</a:t>
            </a:r>
            <a:r>
              <a:rPr lang="en-US" b="1" dirty="0"/>
              <a:t> </a:t>
            </a:r>
            <a:r>
              <a:rPr lang="en-US" b="1" dirty="0" err="1"/>
              <a:t>Alimentacao</a:t>
            </a:r>
            <a:r>
              <a:rPr lang="en-US" b="1" dirty="0"/>
              <a:t> </a:t>
            </a:r>
            <a:r>
              <a:rPr lang="en-US" dirty="0"/>
              <a:t>is a specialized credit card program for use in the purchase of specific food items. </a:t>
            </a:r>
          </a:p>
          <a:p>
            <a:r>
              <a:rPr lang="en-US" dirty="0"/>
              <a:t>Conditions include: </a:t>
            </a:r>
          </a:p>
          <a:p>
            <a:pPr lvl="2"/>
            <a:r>
              <a:rPr lang="en-US" b="1" dirty="0"/>
              <a:t>Vaccination of children </a:t>
            </a:r>
            <a:r>
              <a:rPr lang="en-US" dirty="0"/>
              <a:t>who are dependants of beneficiaries</a:t>
            </a:r>
          </a:p>
          <a:p>
            <a:pPr lvl="2"/>
            <a:r>
              <a:rPr lang="en-US" b="1" dirty="0"/>
              <a:t>Fulfillment of prenatal care </a:t>
            </a:r>
            <a:r>
              <a:rPr lang="en-US" dirty="0"/>
              <a:t>for pregnant beneficiaries </a:t>
            </a:r>
          </a:p>
          <a:p>
            <a:pPr lvl="2"/>
            <a:r>
              <a:rPr lang="en-US" b="1" dirty="0"/>
              <a:t>School enrollment and attendance </a:t>
            </a:r>
            <a:r>
              <a:rPr lang="en-US" dirty="0"/>
              <a:t>for children of beneficiarie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 err="1"/>
              <a:t>Oportunidades</a:t>
            </a:r>
            <a:r>
              <a:rPr lang="en-US" dirty="0"/>
              <a:t>/</a:t>
            </a:r>
            <a:r>
              <a:rPr lang="en-US" dirty="0" err="1"/>
              <a:t>Progesa</a:t>
            </a:r>
            <a:r>
              <a:rPr lang="en-US" dirty="0"/>
              <a:t> </a:t>
            </a:r>
          </a:p>
        </p:txBody>
      </p:sp>
      <p:pic>
        <p:nvPicPr>
          <p:cNvPr id="6" name="Picture Placeholder 5" descr="10258072_1663550157241166_4584020831530923764_o.jpg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7255" r="7255"/>
          <a:stretch>
            <a:fillRect/>
          </a:stretch>
        </p:blipFill>
        <p:spPr>
          <a:xfrm>
            <a:off x="2" y="-1"/>
            <a:ext cx="5864225" cy="6590805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ntry: Mexico</a:t>
            </a:r>
          </a:p>
          <a:p>
            <a:r>
              <a:rPr lang="en-US" dirty="0"/>
              <a:t>Target Population: Households below the food poverty line</a:t>
            </a:r>
          </a:p>
          <a:p>
            <a:r>
              <a:rPr lang="en-US" dirty="0"/>
              <a:t>Combines an education and health approach:</a:t>
            </a:r>
          </a:p>
          <a:p>
            <a:pPr lvl="2"/>
            <a:r>
              <a:rPr lang="en-US" b="1" dirty="0"/>
              <a:t>Education Approach</a:t>
            </a:r>
            <a:r>
              <a:rPr lang="en-US" dirty="0"/>
              <a:t>: Aims to increase familial “investment” in education. </a:t>
            </a:r>
          </a:p>
          <a:p>
            <a:pPr marL="1062828" lvl="4" indent="-342900">
              <a:buFont typeface="Courier New" pitchFamily="49" charset="0"/>
              <a:buChar char="o"/>
            </a:pPr>
            <a:r>
              <a:rPr lang="en-US" dirty="0"/>
              <a:t>Offers </a:t>
            </a:r>
            <a:r>
              <a:rPr lang="en-US" b="1" dirty="0"/>
              <a:t>educational grants</a:t>
            </a:r>
            <a:r>
              <a:rPr lang="en-US" dirty="0"/>
              <a:t> to families so that children can attend school </a:t>
            </a:r>
          </a:p>
          <a:p>
            <a:pPr marL="1062828" lvl="4" indent="-342900">
              <a:buFont typeface="Courier New" pitchFamily="49" charset="0"/>
              <a:buChar char="o"/>
            </a:pPr>
            <a:r>
              <a:rPr lang="en-US" dirty="0"/>
              <a:t>Helps </a:t>
            </a:r>
            <a:r>
              <a:rPr lang="en-US" b="1" dirty="0"/>
              <a:t>subsidize cost of supplies</a:t>
            </a:r>
            <a:r>
              <a:rPr lang="en-US" dirty="0"/>
              <a:t> and school related materials.</a:t>
            </a:r>
          </a:p>
          <a:p>
            <a:pPr marL="1062828" lvl="4" indent="-342900">
              <a:buFont typeface="Courier New" pitchFamily="49" charset="0"/>
              <a:buChar char="o"/>
            </a:pPr>
            <a:r>
              <a:rPr lang="en-US" dirty="0"/>
              <a:t>Benefits are </a:t>
            </a:r>
            <a:r>
              <a:rPr lang="en-US" b="1" dirty="0"/>
              <a:t>tied to school attendance </a:t>
            </a:r>
            <a:r>
              <a:rPr lang="en-US" dirty="0"/>
              <a:t>by children. </a:t>
            </a:r>
          </a:p>
          <a:p>
            <a:pPr marL="702615" lvl="2" indent="-342900"/>
            <a:r>
              <a:rPr lang="en-US" b="1" dirty="0"/>
              <a:t>Health Approach</a:t>
            </a:r>
            <a:r>
              <a:rPr lang="en-US" dirty="0"/>
              <a:t>: Packages services with regular checkups in state health centers. </a:t>
            </a:r>
          </a:p>
          <a:p>
            <a:pPr marL="1062828" lvl="4" indent="-342900">
              <a:buFont typeface="Courier New" pitchFamily="49" charset="0"/>
              <a:buChar char="o"/>
            </a:pPr>
            <a:r>
              <a:rPr lang="en-US" dirty="0"/>
              <a:t>Provides </a:t>
            </a:r>
            <a:r>
              <a:rPr lang="en-US" b="1" dirty="0"/>
              <a:t>primary health care services, cash for food support, and nutritional supplements</a:t>
            </a:r>
            <a:r>
              <a:rPr lang="en-US" dirty="0"/>
              <a:t>.</a:t>
            </a:r>
          </a:p>
          <a:p>
            <a:pPr marL="1062828" lvl="4" indent="-342900">
              <a:buFont typeface="Courier New" pitchFamily="49" charset="0"/>
              <a:buChar char="o"/>
            </a:pPr>
            <a:r>
              <a:rPr lang="en-US" dirty="0"/>
              <a:t>Conditional on </a:t>
            </a:r>
            <a:r>
              <a:rPr lang="en-US" b="1" dirty="0"/>
              <a:t>regular visits to health service centers </a:t>
            </a:r>
            <a:r>
              <a:rPr lang="en-US" dirty="0"/>
              <a:t>for checkups. </a:t>
            </a:r>
          </a:p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 err="1"/>
              <a:t>Jefas</a:t>
            </a:r>
            <a:r>
              <a:rPr lang="en-US" dirty="0"/>
              <a:t> y </a:t>
            </a:r>
            <a:r>
              <a:rPr lang="en-US" dirty="0" err="1"/>
              <a:t>Jefes</a:t>
            </a:r>
            <a:r>
              <a:rPr lang="en-US" dirty="0"/>
              <a:t> De </a:t>
            </a:r>
            <a:r>
              <a:rPr lang="en-US" dirty="0" err="1"/>
              <a:t>Hogar</a:t>
            </a:r>
            <a:endParaRPr lang="en-US" dirty="0"/>
          </a:p>
        </p:txBody>
      </p:sp>
      <p:pic>
        <p:nvPicPr>
          <p:cNvPr id="5" name="Picture Placeholder 4" descr="Inauguración_de_la_XLIII_Cumbre_de_Jefes_y_Jefas_de_Estado_del_MERCOSUR_y_Estados_Asociados_(7469215404).jpg"/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21504" r="21504"/>
          <a:stretch>
            <a:fillRect/>
          </a:stretch>
        </p:blipFill>
        <p:spPr>
          <a:xfrm>
            <a:off x="2" y="0"/>
            <a:ext cx="5864225" cy="6400800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ntry: Argentina </a:t>
            </a:r>
          </a:p>
          <a:p>
            <a:r>
              <a:rPr lang="en-US" dirty="0"/>
              <a:t>Target Population: Families with unemployed heads of households with children up to age 18, disabled or pregnant women.</a:t>
            </a:r>
          </a:p>
          <a:p>
            <a:r>
              <a:rPr lang="en-US" dirty="0"/>
              <a:t>Created in </a:t>
            </a:r>
            <a:r>
              <a:rPr lang="en-US" b="1" dirty="0"/>
              <a:t>response to early 2000’s economic crash </a:t>
            </a:r>
            <a:r>
              <a:rPr lang="en-US" dirty="0"/>
              <a:t>to provide unemployed citizens a safety net while finding employment. </a:t>
            </a:r>
          </a:p>
          <a:p>
            <a:r>
              <a:rPr lang="en-US" dirty="0"/>
              <a:t>Provided a direct cash transfer of </a:t>
            </a:r>
            <a:r>
              <a:rPr lang="en-US" b="1" dirty="0"/>
              <a:t>150 pesos a month </a:t>
            </a:r>
            <a:r>
              <a:rPr lang="en-US" dirty="0"/>
              <a:t>to beneficiaries. </a:t>
            </a:r>
          </a:p>
          <a:p>
            <a:r>
              <a:rPr lang="en-US" dirty="0"/>
              <a:t>Conditional upon </a:t>
            </a:r>
            <a:r>
              <a:rPr lang="en-US" b="1" dirty="0"/>
              <a:t>20 hours of work a week </a:t>
            </a:r>
            <a:r>
              <a:rPr lang="en-US" dirty="0"/>
              <a:t>consisting of basic community work, training activities, or school attendance.</a:t>
            </a:r>
          </a:p>
          <a:p>
            <a:r>
              <a:rPr lang="en-US" dirty="0"/>
              <a:t>Aimed to </a:t>
            </a:r>
            <a:r>
              <a:rPr lang="en-US" b="1" dirty="0"/>
              <a:t>culminate in transition to </a:t>
            </a:r>
            <a:r>
              <a:rPr lang="en-US" b="1" dirty="0" err="1"/>
              <a:t>Familias</a:t>
            </a:r>
            <a:r>
              <a:rPr lang="en-US" b="1" dirty="0"/>
              <a:t> </a:t>
            </a:r>
            <a:r>
              <a:rPr lang="en-US" b="1" dirty="0" err="1"/>
              <a:t>Por</a:t>
            </a:r>
            <a:r>
              <a:rPr lang="en-US" b="1" dirty="0"/>
              <a:t> La Inclusion Social</a:t>
            </a:r>
            <a:r>
              <a:rPr lang="en-US" dirty="0"/>
              <a:t> when heads of household gain employment and lose qualification.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/>
              <a:t>SOLIDARI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ntry: Chile </a:t>
            </a:r>
          </a:p>
          <a:p>
            <a:r>
              <a:rPr lang="en-US" dirty="0"/>
              <a:t>Target Population: Vulnerable households and individuals as per national Quality of Life Index</a:t>
            </a:r>
          </a:p>
          <a:p>
            <a:r>
              <a:rPr lang="en-US" dirty="0"/>
              <a:t>Uses a </a:t>
            </a:r>
            <a:r>
              <a:rPr lang="en-US" b="1" dirty="0"/>
              <a:t>combination of personalized family attention and a conditional cash transfer</a:t>
            </a:r>
            <a:r>
              <a:rPr lang="en-US" dirty="0"/>
              <a:t>: </a:t>
            </a:r>
          </a:p>
          <a:p>
            <a:pPr lvl="2"/>
            <a:r>
              <a:rPr lang="en-US" b="1" dirty="0"/>
              <a:t>Provides social workers to families in extreme poverty </a:t>
            </a:r>
            <a:r>
              <a:rPr lang="en-US" dirty="0"/>
              <a:t>so as to integrate them effectively into the network of services and programs. </a:t>
            </a:r>
          </a:p>
          <a:p>
            <a:pPr lvl="2"/>
            <a:r>
              <a:rPr lang="en-US" dirty="0"/>
              <a:t>As an incentive a </a:t>
            </a:r>
            <a:r>
              <a:rPr lang="en-US" b="1" dirty="0"/>
              <a:t>cash transfer is provided to those who fulfill a combination of 53 predetermined conditions </a:t>
            </a:r>
            <a:r>
              <a:rPr lang="en-US" dirty="0"/>
              <a:t>for quality of life:</a:t>
            </a:r>
          </a:p>
          <a:p>
            <a:pPr lvl="4">
              <a:buFont typeface="Courier New" pitchFamily="49" charset="0"/>
              <a:buChar char="o"/>
            </a:pPr>
            <a:r>
              <a:rPr lang="en-US" dirty="0"/>
              <a:t>Organized into categories like: Health, Education, Family dynamic, Housing, Work, and Income. </a:t>
            </a:r>
          </a:p>
          <a:p>
            <a:endParaRPr lang="en-US" dirty="0"/>
          </a:p>
        </p:txBody>
      </p:sp>
      <p:pic>
        <p:nvPicPr>
          <p:cNvPr id="19458" name="Picture 2" descr="https://4.bp.blogspot.com/-cNxym6f2rnM/W-zLyimeHsI/AAAAAAAAQLY/ZX4L6YJwlS0ZQDN3G32pjjd7MvcjwHHoQCEwYBhgL/s1600/original%2Bhorinzontal2376x157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2504" y="2123765"/>
            <a:ext cx="5932796" cy="2474278"/>
          </a:xfrm>
          <a:prstGeom prst="rect">
            <a:avLst/>
          </a:prstGeom>
          <a:noFill/>
        </p:spPr>
      </p:pic>
      <p:sp>
        <p:nvSpPr>
          <p:cNvPr id="9" name="Rectangle 8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cover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0000" y="439740"/>
            <a:ext cx="5367338" cy="307648"/>
          </a:xfrm>
        </p:spPr>
        <p:txBody>
          <a:bodyPr/>
          <a:lstStyle/>
          <a:p>
            <a:r>
              <a:rPr lang="en-US" dirty="0"/>
              <a:t>RED DE OPORTUNIDAD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ountry: Panama </a:t>
            </a:r>
          </a:p>
          <a:p>
            <a:r>
              <a:rPr lang="en-US" dirty="0"/>
              <a:t>Target Population: Households in extreme poverty as per national Vulnerability Census </a:t>
            </a:r>
          </a:p>
          <a:p>
            <a:r>
              <a:rPr lang="en-US" dirty="0"/>
              <a:t>Focuses on </a:t>
            </a:r>
            <a:r>
              <a:rPr lang="en-US" b="1" dirty="0"/>
              <a:t>investment into social capital </a:t>
            </a:r>
            <a:r>
              <a:rPr lang="en-US" dirty="0"/>
              <a:t>such as the educational development of children </a:t>
            </a:r>
          </a:p>
          <a:p>
            <a:r>
              <a:rPr lang="en-US" dirty="0"/>
              <a:t>Bimonthly </a:t>
            </a:r>
            <a:r>
              <a:rPr lang="en-US" b="1" dirty="0"/>
              <a:t>cash transfer given to female heads of household </a:t>
            </a:r>
            <a:r>
              <a:rPr lang="en-US" dirty="0"/>
              <a:t>to be used for children’s development only. </a:t>
            </a:r>
          </a:p>
          <a:p>
            <a:r>
              <a:rPr lang="en-US" b="1" dirty="0"/>
              <a:t>Families must meet the following conditions</a:t>
            </a:r>
            <a:r>
              <a:rPr lang="en-US" dirty="0"/>
              <a:t>:</a:t>
            </a:r>
          </a:p>
          <a:p>
            <a:pPr lvl="2"/>
            <a:r>
              <a:rPr lang="en-US" dirty="0"/>
              <a:t>Attend pregnancy control consultations.</a:t>
            </a:r>
          </a:p>
          <a:p>
            <a:pPr lvl="2"/>
            <a:r>
              <a:rPr lang="en-US" dirty="0"/>
              <a:t>Vaccinate children under 5 years.</a:t>
            </a:r>
          </a:p>
          <a:p>
            <a:pPr lvl="2"/>
            <a:r>
              <a:rPr lang="en-US" dirty="0"/>
              <a:t>Guarantee school attendance by children.</a:t>
            </a:r>
          </a:p>
          <a:p>
            <a:pPr lvl="2"/>
            <a:r>
              <a:rPr lang="en-US" dirty="0"/>
              <a:t>Attend all parent teacher meetings at school.</a:t>
            </a:r>
          </a:p>
          <a:p>
            <a:pPr lvl="2"/>
            <a:r>
              <a:rPr lang="en-US" dirty="0"/>
              <a:t>A member of the household must participate in social capital training.</a:t>
            </a:r>
          </a:p>
          <a:p>
            <a:pPr>
              <a:buNone/>
            </a:pP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pic>
        <p:nvPicPr>
          <p:cNvPr id="46082" name="Picture 2" descr="https://pbs.twimg.com/profile_images/535290558093078528/KsQ2JZLQ.jpe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4187" y="608860"/>
            <a:ext cx="5144900" cy="5138798"/>
          </a:xfrm>
          <a:prstGeom prst="rect">
            <a:avLst/>
          </a:prstGeom>
          <a:noFill/>
        </p:spPr>
      </p:pic>
      <p:sp>
        <p:nvSpPr>
          <p:cNvPr id="9" name="Rectangle 8"/>
          <p:cNvSpPr/>
          <p:nvPr/>
        </p:nvSpPr>
        <p:spPr>
          <a:xfrm>
            <a:off x="10616540" y="6400800"/>
            <a:ext cx="1199408" cy="4469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PROJECT_OPEN" val="0"/>
  <p:tag name="ARTICULATE_SLIDE_COUNT" val="27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arowski_Template_16x9">
  <a:themeElements>
    <a:clrScheme name="Swarovski_colors">
      <a:dk1>
        <a:sysClr val="windowText" lastClr="000000"/>
      </a:dk1>
      <a:lt1>
        <a:sysClr val="window" lastClr="FFFFFF"/>
      </a:lt1>
      <a:dk2>
        <a:srgbClr val="B9B8B6"/>
      </a:dk2>
      <a:lt2>
        <a:srgbClr val="9BBC9F"/>
      </a:lt2>
      <a:accent1>
        <a:srgbClr val="44546A"/>
      </a:accent1>
      <a:accent2>
        <a:srgbClr val="6D6590"/>
      </a:accent2>
      <a:accent3>
        <a:srgbClr val="4F93AA"/>
      </a:accent3>
      <a:accent4>
        <a:srgbClr val="4472C4"/>
      </a:accent4>
      <a:accent5>
        <a:srgbClr val="231161"/>
      </a:accent5>
      <a:accent6>
        <a:srgbClr val="C95169"/>
      </a:accent6>
      <a:hlink>
        <a:srgbClr val="231161"/>
      </a:hlink>
      <a:folHlink>
        <a:srgbClr val="4F93AA"/>
      </a:folHlink>
    </a:clrScheme>
    <a:fontScheme name="Swarovski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buFont typeface="Arial" panose="020B0604020202020204" pitchFamily="34" charset="0"/>
          <a:buChar char="•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2_Swarovski_Template_16x9_final.pptx" id="{8FFDEAF2-2168-4C72-A787-5147E72E4FE9}" vid="{F489078D-39FF-43CB-86A1-C38B6311BD7E}"/>
    </a:ext>
  </a:extLst>
</a:theme>
</file>

<file path=ppt/theme/theme2.xml><?xml version="1.0" encoding="utf-8"?>
<a:theme xmlns:a="http://schemas.openxmlformats.org/drawingml/2006/main" name="Larissa">
  <a:themeElements>
    <a:clrScheme name="Swarovski_colors">
      <a:dk1>
        <a:sysClr val="windowText" lastClr="000000"/>
      </a:dk1>
      <a:lt1>
        <a:sysClr val="window" lastClr="FFFFFF"/>
      </a:lt1>
      <a:dk2>
        <a:srgbClr val="231161"/>
      </a:dk2>
      <a:lt2>
        <a:srgbClr val="DCDBDA"/>
      </a:lt2>
      <a:accent1>
        <a:srgbClr val="231161"/>
      </a:accent1>
      <a:accent2>
        <a:srgbClr val="6D6590"/>
      </a:accent2>
      <a:accent3>
        <a:srgbClr val="4F93AA"/>
      </a:accent3>
      <a:accent4>
        <a:srgbClr val="B9B8B6"/>
      </a:accent4>
      <a:accent5>
        <a:srgbClr val="FFFFFF"/>
      </a:accent5>
      <a:accent6>
        <a:srgbClr val="FFFFFF"/>
      </a:accent6>
      <a:hlink>
        <a:srgbClr val="231161"/>
      </a:hlink>
      <a:folHlink>
        <a:srgbClr val="4F93AA"/>
      </a:folHlink>
    </a:clrScheme>
    <a:fontScheme name="Swarovski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warovski_colors">
      <a:dk1>
        <a:sysClr val="windowText" lastClr="000000"/>
      </a:dk1>
      <a:lt1>
        <a:sysClr val="window" lastClr="FFFFFF"/>
      </a:lt1>
      <a:dk2>
        <a:srgbClr val="231161"/>
      </a:dk2>
      <a:lt2>
        <a:srgbClr val="DCDBDA"/>
      </a:lt2>
      <a:accent1>
        <a:srgbClr val="231161"/>
      </a:accent1>
      <a:accent2>
        <a:srgbClr val="6D6590"/>
      </a:accent2>
      <a:accent3>
        <a:srgbClr val="4F93AA"/>
      </a:accent3>
      <a:accent4>
        <a:srgbClr val="B9B8B6"/>
      </a:accent4>
      <a:accent5>
        <a:srgbClr val="FFFFFF"/>
      </a:accent5>
      <a:accent6>
        <a:srgbClr val="FFFFFF"/>
      </a:accent6>
      <a:hlink>
        <a:srgbClr val="231161"/>
      </a:hlink>
      <a:folHlink>
        <a:srgbClr val="4F93AA"/>
      </a:folHlink>
    </a:clrScheme>
    <a:fontScheme name="Swarovski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2_Swarovski_Template_16x9_final</Template>
  <TotalTime>7007</TotalTime>
  <Words>1510</Words>
  <Application>Microsoft Office PowerPoint</Application>
  <PresentationFormat>Custom</PresentationFormat>
  <Paragraphs>32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urier New</vt:lpstr>
      <vt:lpstr>Helvetica Neue</vt:lpstr>
      <vt:lpstr>Times New Roman</vt:lpstr>
      <vt:lpstr>Swarowski_Template_16x9</vt:lpstr>
      <vt:lpstr>think-cell Slide</vt:lpstr>
      <vt:lpstr>An Examination of Social Protection Coverage Across Programs in Latin America Using Indicator 1.3.1.</vt:lpstr>
      <vt:lpstr>SUSTAINABLE DEVELOPMENT GOALS</vt:lpstr>
      <vt:lpstr>FRAMEWORK</vt:lpstr>
      <vt:lpstr>Social Protection </vt:lpstr>
      <vt:lpstr>Bolsa Familia </vt:lpstr>
      <vt:lpstr>Oportunidades/Progesa </vt:lpstr>
      <vt:lpstr>Jefas y Jefes De Hogar</vt:lpstr>
      <vt:lpstr>SOLIDARIO</vt:lpstr>
      <vt:lpstr>RED DE OPORTUNIDADES</vt:lpstr>
      <vt:lpstr>Methodology </vt:lpstr>
      <vt:lpstr>DATA</vt:lpstr>
      <vt:lpstr>DATA CONTINUED </vt:lpstr>
      <vt:lpstr>DATA CONTINUED </vt:lpstr>
      <vt:lpstr>Observations</vt:lpstr>
      <vt:lpstr>CONCLUS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 ENGAGEMENT – NY/AMERICAS</dc:title>
  <dc:creator>Tipu Ahmad</dc:creator>
  <cp:lastModifiedBy>ivana</cp:lastModifiedBy>
  <cp:revision>218</cp:revision>
  <dcterms:created xsi:type="dcterms:W3CDTF">2018-11-20T22:38:01Z</dcterms:created>
  <dcterms:modified xsi:type="dcterms:W3CDTF">2019-08-16T15:0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81011AB5-7B4F-42FA-B5FA-717755F17808</vt:lpwstr>
  </property>
  <property fmtid="{D5CDD505-2E9C-101B-9397-08002B2CF9AE}" pid="3" name="ArticulatePath">
    <vt:lpwstr>Präsentation1</vt:lpwstr>
  </property>
</Properties>
</file>